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1" r:id="rId1"/>
  </p:sldMasterIdLst>
  <p:sldIdLst>
    <p:sldId id="256" r:id="rId2"/>
    <p:sldId id="268" r:id="rId3"/>
    <p:sldId id="258" r:id="rId4"/>
    <p:sldId id="259" r:id="rId5"/>
    <p:sldId id="260" r:id="rId6"/>
    <p:sldId id="267" r:id="rId7"/>
    <p:sldId id="266" r:id="rId8"/>
    <p:sldId id="261" r:id="rId9"/>
    <p:sldId id="262" r:id="rId10"/>
    <p:sldId id="263" r:id="rId11"/>
    <p:sldId id="264" r:id="rId12"/>
    <p:sldId id="265" r:id="rId1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1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anThang" initials="T" lastIdx="2" clrIdx="0">
    <p:extLst>
      <p:ext uri="{19B8F6BF-5375-455C-9EA6-DF929625EA0E}">
        <p15:presenceInfo xmlns:p15="http://schemas.microsoft.com/office/powerpoint/2012/main" userId="TranThan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 showGuides="1">
      <p:cViewPr varScale="1">
        <p:scale>
          <a:sx n="72" d="100"/>
          <a:sy n="72" d="100"/>
        </p:scale>
        <p:origin x="660" y="78"/>
      </p:cViewPr>
      <p:guideLst>
        <p:guide orient="horz" pos="2184"/>
        <p:guide pos="381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56F68B-9079-454D-BE57-F1FD17174858}" type="doc">
      <dgm:prSet loTypeId="urn:microsoft.com/office/officeart/2005/8/layout/vList2" loCatId="list" qsTypeId="urn:microsoft.com/office/officeart/2005/8/quickstyle/simple3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A07F40D5-0284-4621-8B57-7F5F0BD6D33C}">
      <dgm:prSet custT="1"/>
      <dgm:spPr/>
      <dgm:t>
        <a:bodyPr/>
        <a:lstStyle/>
        <a:p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iếp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ục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oà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iệ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ra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web: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giao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ệ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hức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ă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</dgm:t>
    </dgm:pt>
    <dgm:pt modelId="{A92BCE36-1200-45B6-8818-C166846F7A4B}" type="parTrans" cxnId="{85E6976B-2694-414C-B0FA-B9484252122D}">
      <dgm:prSet/>
      <dgm:spPr/>
      <dgm:t>
        <a:bodyPr/>
        <a:lstStyle/>
        <a:p>
          <a:endParaRPr lang="en-US"/>
        </a:p>
      </dgm:t>
    </dgm:pt>
    <dgm:pt modelId="{7E49012C-E121-42B3-B939-C261A6153D87}" type="sibTrans" cxnId="{85E6976B-2694-414C-B0FA-B9484252122D}">
      <dgm:prSet/>
      <dgm:spPr/>
      <dgm:t>
        <a:bodyPr/>
        <a:lstStyle/>
        <a:p>
          <a:endParaRPr lang="en-US"/>
        </a:p>
      </dgm:t>
    </dgm:pt>
    <dgm:pt modelId="{D2148DEF-26F1-4766-BA4E-EA2AEB77EE11}">
      <dgm:prSet custT="1"/>
      <dgm:spPr/>
      <dgm:t>
        <a:bodyPr/>
        <a:lstStyle/>
        <a:p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ìm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iể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â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ô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ữ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JAVA &amp; SQL Server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ể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ó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ể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áp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ứ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hiề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ữa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h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ầ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ủa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ười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ử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ụ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hát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riể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à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ối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ư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óa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ệ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ố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</dgm:t>
    </dgm:pt>
    <dgm:pt modelId="{3B06BD7A-0E33-43D0-ACDE-CA6933AA9BBD}" type="parTrans" cxnId="{90B3BB48-F810-4ABC-8848-F8DC742C4612}">
      <dgm:prSet/>
      <dgm:spPr/>
      <dgm:t>
        <a:bodyPr/>
        <a:lstStyle/>
        <a:p>
          <a:endParaRPr lang="en-US"/>
        </a:p>
      </dgm:t>
    </dgm:pt>
    <dgm:pt modelId="{388EEFD7-F887-4759-BB93-3F4D366BE7AD}" type="sibTrans" cxnId="{90B3BB48-F810-4ABC-8848-F8DC742C4612}">
      <dgm:prSet/>
      <dgm:spPr/>
      <dgm:t>
        <a:bodyPr/>
        <a:lstStyle/>
        <a:p>
          <a:endParaRPr lang="en-US"/>
        </a:p>
      </dgm:t>
    </dgm:pt>
    <dgm:pt modelId="{D3519ACC-790E-420E-8B19-0F983F5B940E}">
      <dgm:prSet custT="1"/>
      <dgm:spPr/>
      <dgm:t>
        <a:bodyPr/>
        <a:lstStyle/>
        <a:p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ìm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iểu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êm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ột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ố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ô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ữ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ác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hầ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ềm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ứ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ụ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ể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âng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ao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giao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ệ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ồ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ọa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ẹp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ắt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â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iệ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…</a:t>
          </a:r>
        </a:p>
      </dgm:t>
    </dgm:pt>
    <dgm:pt modelId="{77B5DF0B-E5CE-4E6D-93DB-82FF3E3C898C}" type="parTrans" cxnId="{9B6A2606-84E9-40EF-95C8-7935E20AC616}">
      <dgm:prSet/>
      <dgm:spPr/>
      <dgm:t>
        <a:bodyPr/>
        <a:lstStyle/>
        <a:p>
          <a:endParaRPr lang="en-US"/>
        </a:p>
      </dgm:t>
    </dgm:pt>
    <dgm:pt modelId="{76922B62-362F-473F-9A44-DA9C49F7EDD7}" type="sibTrans" cxnId="{9B6A2606-84E9-40EF-95C8-7935E20AC616}">
      <dgm:prSet/>
      <dgm:spPr/>
      <dgm:t>
        <a:bodyPr/>
        <a:lstStyle/>
        <a:p>
          <a:endParaRPr lang="en-US"/>
        </a:p>
      </dgm:t>
    </dgm:pt>
    <dgm:pt modelId="{77FCA6CD-3737-47B8-9D03-A00C1EA4CC25}" type="pres">
      <dgm:prSet presAssocID="{8E56F68B-9079-454D-BE57-F1FD17174858}" presName="linear" presStyleCnt="0">
        <dgm:presLayoutVars>
          <dgm:animLvl val="lvl"/>
          <dgm:resizeHandles val="exact"/>
        </dgm:presLayoutVars>
      </dgm:prSet>
      <dgm:spPr/>
    </dgm:pt>
    <dgm:pt modelId="{A31C931D-059C-4B98-ADE6-52B7DD323B90}" type="pres">
      <dgm:prSet presAssocID="{A07F40D5-0284-4621-8B57-7F5F0BD6D33C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9BA3B302-3B14-4374-BB4F-89D621F9F673}" type="pres">
      <dgm:prSet presAssocID="{7E49012C-E121-42B3-B939-C261A6153D87}" presName="spacer" presStyleCnt="0"/>
      <dgm:spPr/>
    </dgm:pt>
    <dgm:pt modelId="{6DC787F9-B82C-4E6F-BAFE-0771F56719B8}" type="pres">
      <dgm:prSet presAssocID="{D2148DEF-26F1-4766-BA4E-EA2AEB77EE11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0F493DB8-05D9-485C-AA87-402D60FB2C44}" type="pres">
      <dgm:prSet presAssocID="{388EEFD7-F887-4759-BB93-3F4D366BE7AD}" presName="spacer" presStyleCnt="0"/>
      <dgm:spPr/>
    </dgm:pt>
    <dgm:pt modelId="{FDBDBA60-C727-4B74-A406-FC85D24C0CAF}" type="pres">
      <dgm:prSet presAssocID="{D3519ACC-790E-420E-8B19-0F983F5B940E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9B6A2606-84E9-40EF-95C8-7935E20AC616}" srcId="{8E56F68B-9079-454D-BE57-F1FD17174858}" destId="{D3519ACC-790E-420E-8B19-0F983F5B940E}" srcOrd="2" destOrd="0" parTransId="{77B5DF0B-E5CE-4E6D-93DB-82FF3E3C898C}" sibTransId="{76922B62-362F-473F-9A44-DA9C49F7EDD7}"/>
    <dgm:cxn modelId="{EBA8D709-7193-4476-9848-CD1B1039B1B1}" type="presOf" srcId="{8E56F68B-9079-454D-BE57-F1FD17174858}" destId="{77FCA6CD-3737-47B8-9D03-A00C1EA4CC25}" srcOrd="0" destOrd="0" presId="urn:microsoft.com/office/officeart/2005/8/layout/vList2"/>
    <dgm:cxn modelId="{90B3BB48-F810-4ABC-8848-F8DC742C4612}" srcId="{8E56F68B-9079-454D-BE57-F1FD17174858}" destId="{D2148DEF-26F1-4766-BA4E-EA2AEB77EE11}" srcOrd="1" destOrd="0" parTransId="{3B06BD7A-0E33-43D0-ACDE-CA6933AA9BBD}" sibTransId="{388EEFD7-F887-4759-BB93-3F4D366BE7AD}"/>
    <dgm:cxn modelId="{85E6976B-2694-414C-B0FA-B9484252122D}" srcId="{8E56F68B-9079-454D-BE57-F1FD17174858}" destId="{A07F40D5-0284-4621-8B57-7F5F0BD6D33C}" srcOrd="0" destOrd="0" parTransId="{A92BCE36-1200-45B6-8818-C166846F7A4B}" sibTransId="{7E49012C-E121-42B3-B939-C261A6153D87}"/>
    <dgm:cxn modelId="{7E967E9B-A36E-40F4-9BB4-94001D6C69D3}" type="presOf" srcId="{D3519ACC-790E-420E-8B19-0F983F5B940E}" destId="{FDBDBA60-C727-4B74-A406-FC85D24C0CAF}" srcOrd="0" destOrd="0" presId="urn:microsoft.com/office/officeart/2005/8/layout/vList2"/>
    <dgm:cxn modelId="{E7F165C2-F012-4939-8976-47DF17633E8B}" type="presOf" srcId="{A07F40D5-0284-4621-8B57-7F5F0BD6D33C}" destId="{A31C931D-059C-4B98-ADE6-52B7DD323B90}" srcOrd="0" destOrd="0" presId="urn:microsoft.com/office/officeart/2005/8/layout/vList2"/>
    <dgm:cxn modelId="{33C646DE-3AB7-469B-8899-EA02AEAD04DD}" type="presOf" srcId="{D2148DEF-26F1-4766-BA4E-EA2AEB77EE11}" destId="{6DC787F9-B82C-4E6F-BAFE-0771F56719B8}" srcOrd="0" destOrd="0" presId="urn:microsoft.com/office/officeart/2005/8/layout/vList2"/>
    <dgm:cxn modelId="{D759F61A-0F41-4B6D-87EC-C4B89AFB4360}" type="presParOf" srcId="{77FCA6CD-3737-47B8-9D03-A00C1EA4CC25}" destId="{A31C931D-059C-4B98-ADE6-52B7DD323B90}" srcOrd="0" destOrd="0" presId="urn:microsoft.com/office/officeart/2005/8/layout/vList2"/>
    <dgm:cxn modelId="{D658C353-948D-4252-AE01-53172C8976ED}" type="presParOf" srcId="{77FCA6CD-3737-47B8-9D03-A00C1EA4CC25}" destId="{9BA3B302-3B14-4374-BB4F-89D621F9F673}" srcOrd="1" destOrd="0" presId="urn:microsoft.com/office/officeart/2005/8/layout/vList2"/>
    <dgm:cxn modelId="{F676DDD3-78A8-42B3-9139-1310CB68476F}" type="presParOf" srcId="{77FCA6CD-3737-47B8-9D03-A00C1EA4CC25}" destId="{6DC787F9-B82C-4E6F-BAFE-0771F56719B8}" srcOrd="2" destOrd="0" presId="urn:microsoft.com/office/officeart/2005/8/layout/vList2"/>
    <dgm:cxn modelId="{D1B407DE-3E52-4E2A-B88F-84BD31FA11C4}" type="presParOf" srcId="{77FCA6CD-3737-47B8-9D03-A00C1EA4CC25}" destId="{0F493DB8-05D9-485C-AA87-402D60FB2C44}" srcOrd="3" destOrd="0" presId="urn:microsoft.com/office/officeart/2005/8/layout/vList2"/>
    <dgm:cxn modelId="{EF397EEB-E57A-48AB-BCC1-7396868BB2A4}" type="presParOf" srcId="{77FCA6CD-3737-47B8-9D03-A00C1EA4CC25}" destId="{FDBDBA60-C727-4B74-A406-FC85D24C0CAF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1C931D-059C-4B98-ADE6-52B7DD323B90}">
      <dsp:nvSpPr>
        <dsp:cNvPr id="0" name=""/>
        <dsp:cNvSpPr/>
      </dsp:nvSpPr>
      <dsp:spPr>
        <a:xfrm>
          <a:off x="0" y="17665"/>
          <a:ext cx="6096000" cy="1603192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iếp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ục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oà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iệ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ra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web: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giao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ệ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hức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ă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</dsp:txBody>
      <dsp:txXfrm>
        <a:off x="78261" y="95926"/>
        <a:ext cx="5939478" cy="1446670"/>
      </dsp:txXfrm>
    </dsp:sp>
    <dsp:sp modelId="{6DC787F9-B82C-4E6F-BAFE-0771F56719B8}">
      <dsp:nvSpPr>
        <dsp:cNvPr id="0" name=""/>
        <dsp:cNvSpPr/>
      </dsp:nvSpPr>
      <dsp:spPr>
        <a:xfrm>
          <a:off x="0" y="1704378"/>
          <a:ext cx="6096000" cy="1603192"/>
        </a:xfrm>
        <a:prstGeom prst="roundRect">
          <a:avLst/>
        </a:prstGeom>
        <a:gradFill rotWithShape="0">
          <a:gsLst>
            <a:gs pos="0">
              <a:schemeClr val="accent4">
                <a:hueOff val="-1092657"/>
                <a:satOff val="-1313"/>
                <a:lumOff val="-1569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4">
                <a:hueOff val="-1092657"/>
                <a:satOff val="-1313"/>
                <a:lumOff val="-1569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ìm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iể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â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ề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ô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ữ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JAVA &amp; SQL Server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ể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ó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ể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áp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ứ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hiề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ữa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h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ầ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ủa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ười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ử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ụ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hát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riể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và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ối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ư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óa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ệ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ố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</dsp:txBody>
      <dsp:txXfrm>
        <a:off x="78261" y="1782639"/>
        <a:ext cx="5939478" cy="1446670"/>
      </dsp:txXfrm>
    </dsp:sp>
    <dsp:sp modelId="{FDBDBA60-C727-4B74-A406-FC85D24C0CAF}">
      <dsp:nvSpPr>
        <dsp:cNvPr id="0" name=""/>
        <dsp:cNvSpPr/>
      </dsp:nvSpPr>
      <dsp:spPr>
        <a:xfrm>
          <a:off x="0" y="3391090"/>
          <a:ext cx="6096000" cy="1603192"/>
        </a:xfrm>
        <a:prstGeom prst="roundRect">
          <a:avLst/>
        </a:prstGeom>
        <a:gradFill rotWithShape="0">
          <a:gsLst>
            <a:gs pos="0">
              <a:schemeClr val="accent4">
                <a:hueOff val="-2185313"/>
                <a:satOff val="-2625"/>
                <a:lumOff val="-3138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4">
                <a:hueOff val="-2185313"/>
                <a:satOff val="-2625"/>
                <a:lumOff val="-3138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ìm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iểu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êm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ột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số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ô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gữ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ác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phầ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ềm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ứ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ụ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ể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nâng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cao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giao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diệ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ồ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ọa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đẹp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mắt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â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thiệ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24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hơn</a:t>
          </a:r>
          <a:r>
            <a:rPr lang="en-US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…</a:t>
          </a:r>
        </a:p>
      </dsp:txBody>
      <dsp:txXfrm>
        <a:off x="78261" y="3469351"/>
        <a:ext cx="5939478" cy="14466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BAB4F-F4D6-4FA6-95DD-E1D9C909A548}" type="datetimeFigureOut">
              <a:rPr lang="en-US" smtClean="0"/>
              <a:t>5/2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64356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39513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418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2310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7269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7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21711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7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03263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7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31576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7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1094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27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0097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5/27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65561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5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17EF88B-27F0-4A84-8503-58FDFEF38D04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0603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</p:sldLayoutIdLst>
  <p:transition>
    <p:fade thruBlk="1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slideLayout" Target="../slideLayouts/slideLayout7.xml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0" Type="http://schemas.openxmlformats.org/officeDocument/2006/relationships/tags" Target="../tags/tag20.xml"/><Relationship Id="rId41" Type="http://schemas.openxmlformats.org/officeDocument/2006/relationships/tags" Target="../tags/tag4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F81CA-9EEA-4897-9770-4D49587F957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2649744" y="1528763"/>
            <a:ext cx="6826250" cy="831850"/>
          </a:xfrm>
        </p:spPr>
        <p:txBody>
          <a:bodyPr>
            <a:noAutofit/>
          </a:bodyPr>
          <a:lstStyle/>
          <a:p>
            <a:pPr algn="ctr"/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áo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o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ồ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án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ông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hệ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ần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ềm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88F350-84DE-45EB-9FDA-13E250CAEE22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2146853" y="2598737"/>
            <a:ext cx="8637587" cy="830263"/>
          </a:xfrm>
        </p:spPr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r>
              <a:rPr lang="en-US" sz="2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ề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vi-VN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ÌNH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ÀNH </a:t>
            </a:r>
            <a:r>
              <a:rPr lang="vi-VN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Ý TƯỞNG, THIẾT KẾ, TRIỂN KHAI VÀ VẬN HÀNH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XÂY DỰNG WEBSITE QUẢN LÝ NHÀ TRỌ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1E0DCA-6768-4BF2-99DB-E91DCAF66C42}"/>
              </a:ext>
            </a:extLst>
          </p:cNvPr>
          <p:cNvSpPr txBox="1"/>
          <p:nvPr/>
        </p:nvSpPr>
        <p:spPr>
          <a:xfrm>
            <a:off x="3485322" y="155967"/>
            <a:ext cx="51020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vi-VN" sz="2400" dirty="0">
                <a:latin typeface="+mj-lt"/>
              </a:rPr>
              <a:t>TRƯỜNG ĐẠI HỌC VINH</a:t>
            </a:r>
          </a:p>
          <a:p>
            <a:pPr algn="ctr"/>
            <a:r>
              <a:rPr lang="vi-VN" sz="2400" dirty="0">
                <a:latin typeface="+mj-lt"/>
              </a:rPr>
              <a:t>VIỆN KỸ THUẬT VÀ CÔNG NGHỆ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91783D-4CF0-47CA-A83B-8EA04ABD6F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083" y="145450"/>
            <a:ext cx="1299404" cy="1285784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5165102-DBD1-4CD0-83A0-6B87D31E8E7F}"/>
              </a:ext>
            </a:extLst>
          </p:cNvPr>
          <p:cNvCxnSpPr>
            <a:cxnSpLocks/>
          </p:cNvCxnSpPr>
          <p:nvPr/>
        </p:nvCxnSpPr>
        <p:spPr>
          <a:xfrm>
            <a:off x="4359965" y="986963"/>
            <a:ext cx="34058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79EDED9-5B56-43ED-9283-8F2B2AF7DDE4}"/>
              </a:ext>
            </a:extLst>
          </p:cNvPr>
          <p:cNvSpPr txBox="1"/>
          <p:nvPr/>
        </p:nvSpPr>
        <p:spPr>
          <a:xfrm>
            <a:off x="1641854" y="3932045"/>
            <a:ext cx="964758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ả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h</a:t>
            </a:r>
            <a:r>
              <a:rPr lang="vi-V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ớ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ẫ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 TS. Cao Thanh S</a:t>
            </a:r>
            <a:r>
              <a:rPr lang="vi-V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ơ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</a:p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ó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15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ầ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hanh- 55K2- 145D4802010076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ô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ứ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ế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55K2- 145D4802010049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ầ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á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ắ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55K2- 145D4802010052</a:t>
            </a:r>
          </a:p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ớ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ô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hệ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ầ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ề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218)_01</a:t>
            </a:r>
          </a:p>
        </p:txBody>
      </p:sp>
    </p:spTree>
    <p:extLst>
      <p:ext uri="{BB962C8B-B14F-4D97-AF65-F5344CB8AC3E}">
        <p14:creationId xmlns:p14="http://schemas.microsoft.com/office/powerpoint/2010/main" val="9977788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C14B8EA-D8E1-4A83-8225-595BC7173787}"/>
              </a:ext>
            </a:extLst>
          </p:cNvPr>
          <p:cNvSpPr txBox="1"/>
          <p:nvPr/>
        </p:nvSpPr>
        <p:spPr>
          <a:xfrm>
            <a:off x="3432613" y="202113"/>
            <a:ext cx="53267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UẬN LỢI, KHÓ KHĂ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406B251-D13C-48E7-BD9D-8E7405657D70}"/>
              </a:ext>
            </a:extLst>
          </p:cNvPr>
          <p:cNvCxnSpPr>
            <a:cxnSpLocks/>
          </p:cNvCxnSpPr>
          <p:nvPr/>
        </p:nvCxnSpPr>
        <p:spPr>
          <a:xfrm>
            <a:off x="4386468" y="695292"/>
            <a:ext cx="341906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7639169B-7A36-4AE1-95A2-409DE6926CD3}"/>
              </a:ext>
            </a:extLst>
          </p:cNvPr>
          <p:cNvSpPr/>
          <p:nvPr/>
        </p:nvSpPr>
        <p:spPr>
          <a:xfrm>
            <a:off x="1775789" y="1457738"/>
            <a:ext cx="8640417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ận</a:t>
            </a:r>
            <a:r>
              <a:rPr lang="en-US" sz="2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ợi</a:t>
            </a:r>
            <a:r>
              <a:rPr lang="en-US" sz="2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a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iệ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ễ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ử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ụ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ề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ó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á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ị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ự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ễ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á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ứ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ử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ụ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ó</a:t>
            </a:r>
            <a:r>
              <a:rPr lang="en-US" sz="2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ăn</a:t>
            </a:r>
            <a:r>
              <a:rPr lang="en-US" sz="2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a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iệ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website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ư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ự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ự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uy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hiệ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ậ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ư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ố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ư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a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ò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ậ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iế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ứ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ò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ế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400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335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0360EE7-E746-4D10-8E2D-40B79D856CFF}"/>
              </a:ext>
            </a:extLst>
          </p:cNvPr>
          <p:cNvSpPr txBox="1"/>
          <p:nvPr/>
        </p:nvSpPr>
        <p:spPr>
          <a:xfrm>
            <a:off x="3394513" y="188861"/>
            <a:ext cx="53267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vi-V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ỚNG PHÁT TRIỂ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CA42E97-02CB-4006-94FC-FAE294FE886B}"/>
              </a:ext>
            </a:extLst>
          </p:cNvPr>
          <p:cNvCxnSpPr>
            <a:cxnSpLocks/>
          </p:cNvCxnSpPr>
          <p:nvPr/>
        </p:nvCxnSpPr>
        <p:spPr>
          <a:xfrm>
            <a:off x="4558748" y="712081"/>
            <a:ext cx="28227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4316A998-B9E4-4F44-9670-D37DE8D4CF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0982940"/>
              </p:ext>
            </p:extLst>
          </p:nvPr>
        </p:nvGraphicFramePr>
        <p:xfrm>
          <a:off x="3048000" y="707582"/>
          <a:ext cx="6096000" cy="50119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9546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25B1CFB-6889-4A8C-AC68-D2C6748BD1FB}"/>
              </a:ext>
            </a:extLst>
          </p:cNvPr>
          <p:cNvSpPr txBox="1"/>
          <p:nvPr/>
        </p:nvSpPr>
        <p:spPr>
          <a:xfrm>
            <a:off x="1722782" y="2345635"/>
            <a:ext cx="874643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Cảm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ơ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 </a:t>
            </a:r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thầy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bạn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đã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lắng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ge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!</a:t>
            </a:r>
          </a:p>
        </p:txBody>
      </p:sp>
    </p:spTree>
    <p:extLst>
      <p:ext uri="{BB962C8B-B14F-4D97-AF65-F5344CB8AC3E}">
        <p14:creationId xmlns:p14="http://schemas.microsoft.com/office/powerpoint/2010/main" val="36421933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Elbow Connector 45">
            <a:extLst>
              <a:ext uri="{FF2B5EF4-FFF2-40B4-BE49-F238E27FC236}">
                <a16:creationId xmlns:a16="http://schemas.microsoft.com/office/drawing/2014/main" id="{C312E7FD-0409-42BC-98E4-51976DC20CAD}"/>
              </a:ext>
            </a:extLst>
          </p:cNvPr>
          <p:cNvCxnSpPr/>
          <p:nvPr/>
        </p:nvCxnSpPr>
        <p:spPr>
          <a:xfrm>
            <a:off x="4859176" y="1792436"/>
            <a:ext cx="4260958" cy="414301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Elbow Connector 49">
            <a:extLst>
              <a:ext uri="{FF2B5EF4-FFF2-40B4-BE49-F238E27FC236}">
                <a16:creationId xmlns:a16="http://schemas.microsoft.com/office/drawing/2014/main" id="{91352D9C-C2AF-48C2-B912-D18C0C844966}"/>
              </a:ext>
            </a:extLst>
          </p:cNvPr>
          <p:cNvCxnSpPr>
            <a:stCxn id="41" idx="2"/>
          </p:cNvCxnSpPr>
          <p:nvPr/>
        </p:nvCxnSpPr>
        <p:spPr>
          <a:xfrm rot="16200000" flipH="1">
            <a:off x="5460403" y="1807572"/>
            <a:ext cx="924952" cy="634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Elbow Connector 50">
            <a:extLst>
              <a:ext uri="{FF2B5EF4-FFF2-40B4-BE49-F238E27FC236}">
                <a16:creationId xmlns:a16="http://schemas.microsoft.com/office/drawing/2014/main" id="{2466FA67-A645-42BC-A731-3646EA8D458A}"/>
              </a:ext>
            </a:extLst>
          </p:cNvPr>
          <p:cNvCxnSpPr/>
          <p:nvPr/>
        </p:nvCxnSpPr>
        <p:spPr>
          <a:xfrm rot="10800000" flipV="1">
            <a:off x="2667178" y="1793832"/>
            <a:ext cx="4182637" cy="410804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Nom1">
            <a:extLst>
              <a:ext uri="{FF2B5EF4-FFF2-40B4-BE49-F238E27FC236}">
                <a16:creationId xmlns:a16="http://schemas.microsoft.com/office/drawing/2014/main" id="{0E9AF4FF-6A00-43B5-A601-80590648F877}"/>
              </a:ext>
            </a:extLst>
          </p:cNvPr>
          <p:cNvSpPr/>
          <p:nvPr/>
        </p:nvSpPr>
        <p:spPr>
          <a:xfrm>
            <a:off x="1607476" y="3028944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noProof="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kern="0" noProof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kern="0" noProof="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ích</a:t>
            </a:r>
            <a:r>
              <a:rPr lang="en-US" kern="0" noProof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kern="0" noProof="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ết</a:t>
            </a:r>
            <a:r>
              <a:rPr lang="en-US" kern="0" noProof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kern="0" noProof="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ế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Nom1">
            <a:extLst>
              <a:ext uri="{FF2B5EF4-FFF2-40B4-BE49-F238E27FC236}">
                <a16:creationId xmlns:a16="http://schemas.microsoft.com/office/drawing/2014/main" id="{643B0FC2-9823-464C-AF6D-46D8770A4492}"/>
              </a:ext>
            </a:extLst>
          </p:cNvPr>
          <p:cNvSpPr/>
          <p:nvPr/>
        </p:nvSpPr>
        <p:spPr>
          <a:xfrm>
            <a:off x="1607476" y="3648755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ding(java)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Nom1">
            <a:extLst>
              <a:ext uri="{FF2B5EF4-FFF2-40B4-BE49-F238E27FC236}">
                <a16:creationId xmlns:a16="http://schemas.microsoft.com/office/drawing/2014/main" id="{0B3DEFB2-6089-4F16-94A6-AF4022210735}"/>
              </a:ext>
            </a:extLst>
          </p:cNvPr>
          <p:cNvSpPr/>
          <p:nvPr/>
        </p:nvSpPr>
        <p:spPr>
          <a:xfrm>
            <a:off x="1607476" y="4268566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noProof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ểm thử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Nom1">
            <a:extLst>
              <a:ext uri="{FF2B5EF4-FFF2-40B4-BE49-F238E27FC236}">
                <a16:creationId xmlns:a16="http://schemas.microsoft.com/office/drawing/2014/main" id="{2475B534-4941-4750-B7C0-2EF1C52F2571}"/>
              </a:ext>
            </a:extLst>
          </p:cNvPr>
          <p:cNvSpPr/>
          <p:nvPr/>
        </p:nvSpPr>
        <p:spPr>
          <a:xfrm>
            <a:off x="1607476" y="4888377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iển khai hệ thố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Nom1">
            <a:extLst>
              <a:ext uri="{FF2B5EF4-FFF2-40B4-BE49-F238E27FC236}">
                <a16:creationId xmlns:a16="http://schemas.microsoft.com/office/drawing/2014/main" id="{668D1E86-DE42-470E-84B7-37055B32EC22}"/>
              </a:ext>
            </a:extLst>
          </p:cNvPr>
          <p:cNvSpPr/>
          <p:nvPr/>
        </p:nvSpPr>
        <p:spPr>
          <a:xfrm>
            <a:off x="1607476" y="5524149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ảo trì (Nếu có)</a:t>
            </a:r>
            <a:endParaRPr lang="en-US" kern="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0" name="Elbow Connector 50">
            <a:extLst>
              <a:ext uri="{FF2B5EF4-FFF2-40B4-BE49-F238E27FC236}">
                <a16:creationId xmlns:a16="http://schemas.microsoft.com/office/drawing/2014/main" id="{EE703002-2552-4328-8A59-464C7B9F2349}"/>
              </a:ext>
            </a:extLst>
          </p:cNvPr>
          <p:cNvCxnSpPr>
            <a:stCxn id="9" idx="1"/>
          </p:cNvCxnSpPr>
          <p:nvPr/>
        </p:nvCxnSpPr>
        <p:spPr>
          <a:xfrm rot="10800000">
            <a:off x="1475572" y="2900117"/>
            <a:ext cx="131904" cy="2861544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Nom1">
            <a:extLst>
              <a:ext uri="{FF2B5EF4-FFF2-40B4-BE49-F238E27FC236}">
                <a16:creationId xmlns:a16="http://schemas.microsoft.com/office/drawing/2014/main" id="{09458E3E-BE66-4C93-8406-EB9EAEBBFB3D}"/>
              </a:ext>
            </a:extLst>
          </p:cNvPr>
          <p:cNvSpPr>
            <a:spLocks noChangeAspect="1"/>
          </p:cNvSpPr>
          <p:nvPr/>
        </p:nvSpPr>
        <p:spPr>
          <a:xfrm>
            <a:off x="1353177" y="2204636"/>
            <a:ext cx="2628000" cy="715070"/>
          </a:xfrm>
          <a:prstGeom prst="roundRect">
            <a:avLst>
              <a:gd name="adj" fmla="val 4877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4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rần</a:t>
            </a:r>
            <a:r>
              <a:rPr kumimoji="0" lang="en-US" b="1" i="0" u="none" strike="noStrike" kern="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Văn Thanh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1487DB7-4B24-4199-8930-878DA58C920E}"/>
              </a:ext>
            </a:extLst>
          </p:cNvPr>
          <p:cNvSpPr/>
          <p:nvPr/>
        </p:nvSpPr>
        <p:spPr>
          <a:xfrm>
            <a:off x="1386199" y="2236250"/>
            <a:ext cx="633600" cy="63225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3" name="Elbow Connector 50">
            <a:extLst>
              <a:ext uri="{FF2B5EF4-FFF2-40B4-BE49-F238E27FC236}">
                <a16:creationId xmlns:a16="http://schemas.microsoft.com/office/drawing/2014/main" id="{E7695752-36E8-43B0-B2DD-1FD5D1A58CB0}"/>
              </a:ext>
            </a:extLst>
          </p:cNvPr>
          <p:cNvCxnSpPr>
            <a:stCxn id="8" idx="1"/>
          </p:cNvCxnSpPr>
          <p:nvPr/>
        </p:nvCxnSpPr>
        <p:spPr>
          <a:xfrm rot="10800000">
            <a:off x="1475572" y="2900118"/>
            <a:ext cx="131904" cy="2241733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50">
            <a:extLst>
              <a:ext uri="{FF2B5EF4-FFF2-40B4-BE49-F238E27FC236}">
                <a16:creationId xmlns:a16="http://schemas.microsoft.com/office/drawing/2014/main" id="{B02531F9-C56D-47FB-A1B5-827305CE73F6}"/>
              </a:ext>
            </a:extLst>
          </p:cNvPr>
          <p:cNvCxnSpPr>
            <a:stCxn id="7" idx="1"/>
          </p:cNvCxnSpPr>
          <p:nvPr/>
        </p:nvCxnSpPr>
        <p:spPr>
          <a:xfrm rot="10800000">
            <a:off x="1475572" y="2900117"/>
            <a:ext cx="131904" cy="1621922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50">
            <a:extLst>
              <a:ext uri="{FF2B5EF4-FFF2-40B4-BE49-F238E27FC236}">
                <a16:creationId xmlns:a16="http://schemas.microsoft.com/office/drawing/2014/main" id="{B2FB0BB9-840D-40BA-A656-7605F90B68B1}"/>
              </a:ext>
            </a:extLst>
          </p:cNvPr>
          <p:cNvCxnSpPr>
            <a:stCxn id="6" idx="1"/>
          </p:cNvCxnSpPr>
          <p:nvPr/>
        </p:nvCxnSpPr>
        <p:spPr>
          <a:xfrm rot="10800000">
            <a:off x="1475572" y="2900118"/>
            <a:ext cx="131904" cy="1002111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50">
            <a:extLst>
              <a:ext uri="{FF2B5EF4-FFF2-40B4-BE49-F238E27FC236}">
                <a16:creationId xmlns:a16="http://schemas.microsoft.com/office/drawing/2014/main" id="{D0AF8CEC-45F5-4C6E-ABA9-0212BE67F7C2}"/>
              </a:ext>
            </a:extLst>
          </p:cNvPr>
          <p:cNvCxnSpPr>
            <a:stCxn id="5" idx="1"/>
          </p:cNvCxnSpPr>
          <p:nvPr/>
        </p:nvCxnSpPr>
        <p:spPr>
          <a:xfrm rot="10800000">
            <a:off x="1475572" y="2900117"/>
            <a:ext cx="131904" cy="382300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Nom1">
            <a:extLst>
              <a:ext uri="{FF2B5EF4-FFF2-40B4-BE49-F238E27FC236}">
                <a16:creationId xmlns:a16="http://schemas.microsoft.com/office/drawing/2014/main" id="{FE629E24-7CD2-4437-BB9D-8EB19DFC8D78}"/>
              </a:ext>
            </a:extLst>
          </p:cNvPr>
          <p:cNvSpPr/>
          <p:nvPr/>
        </p:nvSpPr>
        <p:spPr>
          <a:xfrm>
            <a:off x="4802386" y="3078705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u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thập yêu cầu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Nom1">
            <a:extLst>
              <a:ext uri="{FF2B5EF4-FFF2-40B4-BE49-F238E27FC236}">
                <a16:creationId xmlns:a16="http://schemas.microsoft.com/office/drawing/2014/main" id="{A4AD0C80-A121-4313-9310-708967F91357}"/>
              </a:ext>
            </a:extLst>
          </p:cNvPr>
          <p:cNvSpPr/>
          <p:nvPr/>
        </p:nvSpPr>
        <p:spPr>
          <a:xfrm>
            <a:off x="4802386" y="3698516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tích thiết kế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Nom1">
            <a:extLst>
              <a:ext uri="{FF2B5EF4-FFF2-40B4-BE49-F238E27FC236}">
                <a16:creationId xmlns:a16="http://schemas.microsoft.com/office/drawing/2014/main" id="{73AD7299-6261-463D-B349-90E3710A8288}"/>
              </a:ext>
            </a:extLst>
          </p:cNvPr>
          <p:cNvSpPr/>
          <p:nvPr/>
        </p:nvSpPr>
        <p:spPr>
          <a:xfrm>
            <a:off x="4802386" y="4318327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noProof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ding(</a:t>
            </a:r>
            <a:r>
              <a:rPr lang="en-US" kern="0" noProof="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sdl</a:t>
            </a:r>
            <a:r>
              <a:rPr lang="en-US" kern="0" noProof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	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Nom1">
            <a:extLst>
              <a:ext uri="{FF2B5EF4-FFF2-40B4-BE49-F238E27FC236}">
                <a16:creationId xmlns:a16="http://schemas.microsoft.com/office/drawing/2014/main" id="{593F2692-6187-4A60-A2CB-06EB9F2A3B99}"/>
              </a:ext>
            </a:extLst>
          </p:cNvPr>
          <p:cNvSpPr/>
          <p:nvPr/>
        </p:nvSpPr>
        <p:spPr>
          <a:xfrm>
            <a:off x="4802386" y="4938138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iểm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thử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Nom1">
            <a:extLst>
              <a:ext uri="{FF2B5EF4-FFF2-40B4-BE49-F238E27FC236}">
                <a16:creationId xmlns:a16="http://schemas.microsoft.com/office/drawing/2014/main" id="{AB13352A-32E7-4060-B775-0CF3BE921A74}"/>
              </a:ext>
            </a:extLst>
          </p:cNvPr>
          <p:cNvSpPr/>
          <p:nvPr/>
        </p:nvSpPr>
        <p:spPr>
          <a:xfrm>
            <a:off x="4808039" y="5557949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ảo trì (Nếu có)</a:t>
            </a:r>
            <a:endParaRPr lang="en-US" kern="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2" name="Elbow Connector 50">
            <a:extLst>
              <a:ext uri="{FF2B5EF4-FFF2-40B4-BE49-F238E27FC236}">
                <a16:creationId xmlns:a16="http://schemas.microsoft.com/office/drawing/2014/main" id="{D2307EC6-2285-4AB8-9917-D8BBC38827ED}"/>
              </a:ext>
            </a:extLst>
          </p:cNvPr>
          <p:cNvCxnSpPr/>
          <p:nvPr/>
        </p:nvCxnSpPr>
        <p:spPr>
          <a:xfrm rot="10800000">
            <a:off x="4670482" y="2981961"/>
            <a:ext cx="131904" cy="2861544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Nom1">
            <a:extLst>
              <a:ext uri="{FF2B5EF4-FFF2-40B4-BE49-F238E27FC236}">
                <a16:creationId xmlns:a16="http://schemas.microsoft.com/office/drawing/2014/main" id="{10B58DB3-F940-4E19-AE20-733CC57EC861}"/>
              </a:ext>
            </a:extLst>
          </p:cNvPr>
          <p:cNvSpPr>
            <a:spLocks noChangeAspect="1"/>
          </p:cNvSpPr>
          <p:nvPr/>
        </p:nvSpPr>
        <p:spPr>
          <a:xfrm>
            <a:off x="4548087" y="2270439"/>
            <a:ext cx="2628000" cy="715070"/>
          </a:xfrm>
          <a:prstGeom prst="roundRect">
            <a:avLst>
              <a:gd name="adj" fmla="val 4877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4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rần</a:t>
            </a:r>
            <a:r>
              <a:rPr kumimoji="0" lang="en-US" b="1" i="0" u="none" strike="noStrike" kern="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Bá Thắng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5E28FCC-E617-4A07-91CE-4C88DD470D5A}"/>
              </a:ext>
            </a:extLst>
          </p:cNvPr>
          <p:cNvSpPr/>
          <p:nvPr/>
        </p:nvSpPr>
        <p:spPr>
          <a:xfrm>
            <a:off x="4590619" y="2301661"/>
            <a:ext cx="633600" cy="63225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5" name="Elbow Connector 50">
            <a:extLst>
              <a:ext uri="{FF2B5EF4-FFF2-40B4-BE49-F238E27FC236}">
                <a16:creationId xmlns:a16="http://schemas.microsoft.com/office/drawing/2014/main" id="{64E39E0F-7929-4460-BDAB-BFC22B1CA0AC}"/>
              </a:ext>
            </a:extLst>
          </p:cNvPr>
          <p:cNvCxnSpPr/>
          <p:nvPr/>
        </p:nvCxnSpPr>
        <p:spPr>
          <a:xfrm rot="10800000">
            <a:off x="4670482" y="2981962"/>
            <a:ext cx="131904" cy="2241733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50">
            <a:extLst>
              <a:ext uri="{FF2B5EF4-FFF2-40B4-BE49-F238E27FC236}">
                <a16:creationId xmlns:a16="http://schemas.microsoft.com/office/drawing/2014/main" id="{3AEEBDDB-AD74-4317-8A80-98AE058157A4}"/>
              </a:ext>
            </a:extLst>
          </p:cNvPr>
          <p:cNvCxnSpPr/>
          <p:nvPr/>
        </p:nvCxnSpPr>
        <p:spPr>
          <a:xfrm rot="10800000">
            <a:off x="4670482" y="2981961"/>
            <a:ext cx="131904" cy="1621922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50">
            <a:extLst>
              <a:ext uri="{FF2B5EF4-FFF2-40B4-BE49-F238E27FC236}">
                <a16:creationId xmlns:a16="http://schemas.microsoft.com/office/drawing/2014/main" id="{5DBC251A-40DF-4D7E-BF44-78CE42A8D25B}"/>
              </a:ext>
            </a:extLst>
          </p:cNvPr>
          <p:cNvCxnSpPr/>
          <p:nvPr/>
        </p:nvCxnSpPr>
        <p:spPr>
          <a:xfrm rot="10800000">
            <a:off x="4670482" y="2981962"/>
            <a:ext cx="131904" cy="1002111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50">
            <a:extLst>
              <a:ext uri="{FF2B5EF4-FFF2-40B4-BE49-F238E27FC236}">
                <a16:creationId xmlns:a16="http://schemas.microsoft.com/office/drawing/2014/main" id="{9D31006B-AB61-4AE4-96C0-26EB481BD7E6}"/>
              </a:ext>
            </a:extLst>
          </p:cNvPr>
          <p:cNvCxnSpPr/>
          <p:nvPr/>
        </p:nvCxnSpPr>
        <p:spPr>
          <a:xfrm rot="10800000">
            <a:off x="4670482" y="2981961"/>
            <a:ext cx="131904" cy="382300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Nom1">
            <a:extLst>
              <a:ext uri="{FF2B5EF4-FFF2-40B4-BE49-F238E27FC236}">
                <a16:creationId xmlns:a16="http://schemas.microsoft.com/office/drawing/2014/main" id="{F65AB8EE-51B0-4ED3-8A33-8B76D95FC831}"/>
              </a:ext>
            </a:extLst>
          </p:cNvPr>
          <p:cNvSpPr/>
          <p:nvPr/>
        </p:nvSpPr>
        <p:spPr>
          <a:xfrm>
            <a:off x="7997296" y="3106092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u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ập</a:t>
            </a:r>
            <a:r>
              <a:rPr kumimoji="0" lang="en-US" sz="180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1800" b="0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yêu</a:t>
            </a:r>
            <a:r>
              <a:rPr kumimoji="0" lang="en-US" sz="180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1800" b="0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ầu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Nom1">
            <a:extLst>
              <a:ext uri="{FF2B5EF4-FFF2-40B4-BE49-F238E27FC236}">
                <a16:creationId xmlns:a16="http://schemas.microsoft.com/office/drawing/2014/main" id="{D52C0CFF-C103-4BBB-931E-579F7C909803}"/>
              </a:ext>
            </a:extLst>
          </p:cNvPr>
          <p:cNvSpPr/>
          <p:nvPr/>
        </p:nvSpPr>
        <p:spPr>
          <a:xfrm>
            <a:off x="7997296" y="3725903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ding (html)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Nom1">
            <a:extLst>
              <a:ext uri="{FF2B5EF4-FFF2-40B4-BE49-F238E27FC236}">
                <a16:creationId xmlns:a16="http://schemas.microsoft.com/office/drawing/2014/main" id="{1594938E-2EC0-4C88-9F1A-C2154CD5E593}"/>
              </a:ext>
            </a:extLst>
          </p:cNvPr>
          <p:cNvSpPr/>
          <p:nvPr/>
        </p:nvSpPr>
        <p:spPr>
          <a:xfrm>
            <a:off x="7997296" y="4345714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ểm thử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Nom1">
            <a:extLst>
              <a:ext uri="{FF2B5EF4-FFF2-40B4-BE49-F238E27FC236}">
                <a16:creationId xmlns:a16="http://schemas.microsoft.com/office/drawing/2014/main" id="{AED8ABC4-9B31-4CBA-9ED4-1F5E3ECF2971}"/>
              </a:ext>
            </a:extLst>
          </p:cNvPr>
          <p:cNvSpPr/>
          <p:nvPr/>
        </p:nvSpPr>
        <p:spPr>
          <a:xfrm>
            <a:off x="7997296" y="4965525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riển</a:t>
            </a:r>
            <a:r>
              <a:rPr kumimoji="0" lang="en-US" sz="1800" b="0" i="0" u="none" strike="noStrike" kern="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khai hệ thố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Nom1">
            <a:extLst>
              <a:ext uri="{FF2B5EF4-FFF2-40B4-BE49-F238E27FC236}">
                <a16:creationId xmlns:a16="http://schemas.microsoft.com/office/drawing/2014/main" id="{1D2B9A60-8A60-40EF-85DE-BF867C522609}"/>
              </a:ext>
            </a:extLst>
          </p:cNvPr>
          <p:cNvSpPr/>
          <p:nvPr/>
        </p:nvSpPr>
        <p:spPr>
          <a:xfrm>
            <a:off x="7997296" y="5611462"/>
            <a:ext cx="2301701" cy="47502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US" ker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ảo trì (Nếu có)</a:t>
            </a:r>
            <a:endParaRPr lang="en-US" kern="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4" name="Elbow Connector 50">
            <a:extLst>
              <a:ext uri="{FF2B5EF4-FFF2-40B4-BE49-F238E27FC236}">
                <a16:creationId xmlns:a16="http://schemas.microsoft.com/office/drawing/2014/main" id="{1B663B74-BF51-4216-8213-527B95D8A7F6}"/>
              </a:ext>
            </a:extLst>
          </p:cNvPr>
          <p:cNvCxnSpPr/>
          <p:nvPr/>
        </p:nvCxnSpPr>
        <p:spPr>
          <a:xfrm rot="10800000">
            <a:off x="7865392" y="2961304"/>
            <a:ext cx="131904" cy="2861544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Nom1">
            <a:extLst>
              <a:ext uri="{FF2B5EF4-FFF2-40B4-BE49-F238E27FC236}">
                <a16:creationId xmlns:a16="http://schemas.microsoft.com/office/drawing/2014/main" id="{C0EF46F8-3ADD-4B89-9C29-5B10FF9E6B62}"/>
              </a:ext>
            </a:extLst>
          </p:cNvPr>
          <p:cNvSpPr>
            <a:spLocks noChangeAspect="1"/>
          </p:cNvSpPr>
          <p:nvPr/>
        </p:nvSpPr>
        <p:spPr>
          <a:xfrm>
            <a:off x="7742997" y="2265823"/>
            <a:ext cx="2628000" cy="715070"/>
          </a:xfrm>
          <a:prstGeom prst="roundRect">
            <a:avLst>
              <a:gd name="adj" fmla="val 4877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4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Ngô</a:t>
            </a:r>
            <a:r>
              <a:rPr kumimoji="0" lang="en-US" b="1" i="0" u="none" strike="noStrike" kern="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Đức Thế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0A7E89A-40EB-4A12-85D0-F8177CA4AFC8}"/>
              </a:ext>
            </a:extLst>
          </p:cNvPr>
          <p:cNvSpPr/>
          <p:nvPr/>
        </p:nvSpPr>
        <p:spPr>
          <a:xfrm>
            <a:off x="7776019" y="2323563"/>
            <a:ext cx="633600" cy="63225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7" name="Elbow Connector 50">
            <a:extLst>
              <a:ext uri="{FF2B5EF4-FFF2-40B4-BE49-F238E27FC236}">
                <a16:creationId xmlns:a16="http://schemas.microsoft.com/office/drawing/2014/main" id="{4B01FEF1-1ABF-493D-8525-D35FAAE350C0}"/>
              </a:ext>
            </a:extLst>
          </p:cNvPr>
          <p:cNvCxnSpPr>
            <a:stCxn id="32" idx="1"/>
          </p:cNvCxnSpPr>
          <p:nvPr/>
        </p:nvCxnSpPr>
        <p:spPr>
          <a:xfrm rot="10800000">
            <a:off x="7865392" y="2961305"/>
            <a:ext cx="131904" cy="2241733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50">
            <a:extLst>
              <a:ext uri="{FF2B5EF4-FFF2-40B4-BE49-F238E27FC236}">
                <a16:creationId xmlns:a16="http://schemas.microsoft.com/office/drawing/2014/main" id="{F416787E-446C-44D0-BD0A-15368B9E5125}"/>
              </a:ext>
            </a:extLst>
          </p:cNvPr>
          <p:cNvCxnSpPr>
            <a:stCxn id="31" idx="1"/>
          </p:cNvCxnSpPr>
          <p:nvPr/>
        </p:nvCxnSpPr>
        <p:spPr>
          <a:xfrm rot="10800000">
            <a:off x="7865392" y="2961304"/>
            <a:ext cx="131904" cy="1621922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50">
            <a:extLst>
              <a:ext uri="{FF2B5EF4-FFF2-40B4-BE49-F238E27FC236}">
                <a16:creationId xmlns:a16="http://schemas.microsoft.com/office/drawing/2014/main" id="{E932404C-F6E5-4E4D-80DD-611B419804AA}"/>
              </a:ext>
            </a:extLst>
          </p:cNvPr>
          <p:cNvCxnSpPr>
            <a:stCxn id="30" idx="1"/>
          </p:cNvCxnSpPr>
          <p:nvPr/>
        </p:nvCxnSpPr>
        <p:spPr>
          <a:xfrm rot="10800000">
            <a:off x="7865392" y="2961305"/>
            <a:ext cx="131904" cy="1002111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50">
            <a:extLst>
              <a:ext uri="{FF2B5EF4-FFF2-40B4-BE49-F238E27FC236}">
                <a16:creationId xmlns:a16="http://schemas.microsoft.com/office/drawing/2014/main" id="{EAEE491C-2372-4095-A625-6CB8191829C3}"/>
              </a:ext>
            </a:extLst>
          </p:cNvPr>
          <p:cNvCxnSpPr>
            <a:stCxn id="29" idx="1"/>
          </p:cNvCxnSpPr>
          <p:nvPr/>
        </p:nvCxnSpPr>
        <p:spPr>
          <a:xfrm rot="10800000">
            <a:off x="7865392" y="2961304"/>
            <a:ext cx="131904" cy="382300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ounded Rectangle 2">
            <a:extLst>
              <a:ext uri="{FF2B5EF4-FFF2-40B4-BE49-F238E27FC236}">
                <a16:creationId xmlns:a16="http://schemas.microsoft.com/office/drawing/2014/main" id="{16629C58-5561-4E31-AA00-362E7D534856}"/>
              </a:ext>
            </a:extLst>
          </p:cNvPr>
          <p:cNvSpPr>
            <a:spLocks noChangeAspect="1"/>
          </p:cNvSpPr>
          <p:nvPr/>
        </p:nvSpPr>
        <p:spPr>
          <a:xfrm>
            <a:off x="4641705" y="652791"/>
            <a:ext cx="2556000" cy="695480"/>
          </a:xfrm>
          <a:prstGeom prst="roundRect">
            <a:avLst>
              <a:gd name="adj" fmla="val 4877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48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Nhóm</a:t>
            </a:r>
            <a:r>
              <a:rPr kumimoji="0" lang="en-US" sz="2000" b="1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15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AutoShape 76">
            <a:extLst>
              <a:ext uri="{FF2B5EF4-FFF2-40B4-BE49-F238E27FC236}">
                <a16:creationId xmlns:a16="http://schemas.microsoft.com/office/drawing/2014/main" id="{E6C83241-E22B-4423-9DD5-06166D4A3E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6378" y="440292"/>
            <a:ext cx="3352799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ông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ực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27680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4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0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6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9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2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5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8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1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4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0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3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6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9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2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5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8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1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4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7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0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3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6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9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2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5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8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1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4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1" grpId="0" animBg="1"/>
      <p:bldP spid="12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3" grpId="0" animBg="1"/>
      <p:bldP spid="24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5" grpId="0" animBg="1"/>
      <p:bldP spid="36" grpId="0" animBg="1"/>
      <p:bldP spid="4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682A4187-4F80-4824-B5D1-974213F4FC8F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844675" y="320343"/>
            <a:ext cx="8229600" cy="671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NỘI DUNG CHÍNH</a:t>
            </a:r>
          </a:p>
        </p:txBody>
      </p:sp>
      <p:sp>
        <p:nvSpPr>
          <p:cNvPr id="3" name="Text Box 16">
            <a:extLst>
              <a:ext uri="{FF2B5EF4-FFF2-40B4-BE49-F238E27FC236}">
                <a16:creationId xmlns:a16="http://schemas.microsoft.com/office/drawing/2014/main" id="{E8C302A7-72C3-4134-8038-06CE8B02438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33379" y="3036888"/>
            <a:ext cx="338554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5" name="Text Box 31">
            <a:extLst>
              <a:ext uri="{FF2B5EF4-FFF2-40B4-BE49-F238E27FC236}">
                <a16:creationId xmlns:a16="http://schemas.microsoft.com/office/drawing/2014/main" id="{13DCB2E1-E4F7-4DE0-A4C2-2984088A91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60525" y="722313"/>
            <a:ext cx="1841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1F5281"/>
              </a:solidFill>
              <a:latin typeface="Arial" charset="0"/>
            </a:endParaRPr>
          </a:p>
        </p:txBody>
      </p:sp>
      <p:grpSp>
        <p:nvGrpSpPr>
          <p:cNvPr id="8" name="Group 60">
            <a:extLst>
              <a:ext uri="{FF2B5EF4-FFF2-40B4-BE49-F238E27FC236}">
                <a16:creationId xmlns:a16="http://schemas.microsoft.com/office/drawing/2014/main" id="{5D09D1EF-7865-4F30-AF44-3199559EF53B}"/>
              </a:ext>
            </a:extLst>
          </p:cNvPr>
          <p:cNvGrpSpPr>
            <a:grpSpLocks/>
          </p:cNvGrpSpPr>
          <p:nvPr/>
        </p:nvGrpSpPr>
        <p:grpSpPr bwMode="auto">
          <a:xfrm>
            <a:off x="686324" y="2026444"/>
            <a:ext cx="2133599" cy="2020887"/>
            <a:chOff x="192" y="1631"/>
            <a:chExt cx="1684" cy="1683"/>
          </a:xfrm>
        </p:grpSpPr>
        <p:sp>
          <p:nvSpPr>
            <p:cNvPr id="9" name="Oval 61">
              <a:extLst>
                <a:ext uri="{FF2B5EF4-FFF2-40B4-BE49-F238E27FC236}">
                  <a16:creationId xmlns:a16="http://schemas.microsoft.com/office/drawing/2014/main" id="{DC1565E5-013E-47BB-8A49-029949A3096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2" y="1631"/>
              <a:ext cx="1684" cy="1683"/>
            </a:xfrm>
            <a:prstGeom prst="ellipse">
              <a:avLst/>
            </a:prstGeom>
            <a:gradFill rotWithShape="1">
              <a:gsLst>
                <a:gs pos="0">
                  <a:srgbClr val="1481B8">
                    <a:gamma/>
                    <a:tint val="0"/>
                    <a:invGamma/>
                  </a:srgbClr>
                </a:gs>
                <a:gs pos="50000">
                  <a:srgbClr val="1481B8"/>
                </a:gs>
                <a:gs pos="100000">
                  <a:srgbClr val="1481B8">
                    <a:gamma/>
                    <a:tint val="0"/>
                    <a:invGamma/>
                  </a:srgb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0" name="Oval 62">
              <a:extLst>
                <a:ext uri="{FF2B5EF4-FFF2-40B4-BE49-F238E27FC236}">
                  <a16:creationId xmlns:a16="http://schemas.microsoft.com/office/drawing/2014/main" id="{AD75DDD9-4DCF-401A-9C64-5B1C92F26B7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3" y="1740"/>
              <a:ext cx="1461" cy="1463"/>
            </a:xfrm>
            <a:prstGeom prst="ellipse">
              <a:avLst/>
            </a:prstGeom>
            <a:gradFill rotWithShape="1">
              <a:gsLst>
                <a:gs pos="0">
                  <a:srgbClr val="1481B8">
                    <a:gamma/>
                    <a:shade val="54118"/>
                    <a:invGamma/>
                  </a:srgbClr>
                </a:gs>
                <a:gs pos="50000">
                  <a:srgbClr val="1481B8"/>
                </a:gs>
                <a:gs pos="100000">
                  <a:srgbClr val="1481B8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1" name="Oval 63">
              <a:extLst>
                <a:ext uri="{FF2B5EF4-FFF2-40B4-BE49-F238E27FC236}">
                  <a16:creationId xmlns:a16="http://schemas.microsoft.com/office/drawing/2014/main" id="{F8243C90-5F5E-49A4-8331-43241895804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" y="1754"/>
              <a:ext cx="1461" cy="1462"/>
            </a:xfrm>
            <a:prstGeom prst="ellipse">
              <a:avLst/>
            </a:prstGeom>
            <a:gradFill rotWithShape="1">
              <a:gsLst>
                <a:gs pos="0">
                  <a:srgbClr val="1481B8">
                    <a:gamma/>
                    <a:shade val="63529"/>
                    <a:invGamma/>
                  </a:srgbClr>
                </a:gs>
                <a:gs pos="100000">
                  <a:srgbClr val="1481B8">
                    <a:alpha val="0"/>
                  </a:srgb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2" name="Oval 64">
              <a:extLst>
                <a:ext uri="{FF2B5EF4-FFF2-40B4-BE49-F238E27FC236}">
                  <a16:creationId xmlns:a16="http://schemas.microsoft.com/office/drawing/2014/main" id="{E4740AF2-F73D-4296-98B2-1239AD1700A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75" y="1814"/>
              <a:ext cx="1317" cy="1316"/>
            </a:xfrm>
            <a:prstGeom prst="ellipse">
              <a:avLst/>
            </a:prstGeom>
            <a:solidFill>
              <a:srgbClr val="000000"/>
            </a:soli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3" name="Oval 65">
              <a:extLst>
                <a:ext uri="{FF2B5EF4-FFF2-40B4-BE49-F238E27FC236}">
                  <a16:creationId xmlns:a16="http://schemas.microsoft.com/office/drawing/2014/main" id="{DEFFC003-2499-4471-8E39-E5D11783A1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6" y="1835"/>
              <a:ext cx="1276" cy="1277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shade val="46275"/>
                    <a:invGamma/>
                  </a:srgbClr>
                </a:gs>
                <a:gs pos="100000">
                  <a:srgbClr val="D6E1E2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4" name="Oval 66">
              <a:extLst>
                <a:ext uri="{FF2B5EF4-FFF2-40B4-BE49-F238E27FC236}">
                  <a16:creationId xmlns:a16="http://schemas.microsoft.com/office/drawing/2014/main" id="{AA7FA82F-EE45-409E-8F7D-9367C5B79C6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12" y="1842"/>
              <a:ext cx="1246" cy="1246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alpha val="0"/>
                  </a:srgbClr>
                </a:gs>
                <a:gs pos="100000">
                  <a:srgbClr val="D6E1E2">
                    <a:gamma/>
                    <a:tint val="34902"/>
                    <a:invGamma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5" name="Oval 67">
              <a:extLst>
                <a:ext uri="{FF2B5EF4-FFF2-40B4-BE49-F238E27FC236}">
                  <a16:creationId xmlns:a16="http://schemas.microsoft.com/office/drawing/2014/main" id="{60483125-D6D6-42F1-AF07-BE69321FC31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6" y="1854"/>
              <a:ext cx="1184" cy="1164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shade val="79216"/>
                    <a:invGamma/>
                  </a:srgbClr>
                </a:gs>
                <a:gs pos="100000">
                  <a:srgbClr val="D6E1E2">
                    <a:alpha val="48000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6" name="Oval 68">
              <a:extLst>
                <a:ext uri="{FF2B5EF4-FFF2-40B4-BE49-F238E27FC236}">
                  <a16:creationId xmlns:a16="http://schemas.microsoft.com/office/drawing/2014/main" id="{2FA88099-B8CF-40EC-8FCC-33185957FAA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80" y="1872"/>
              <a:ext cx="1053" cy="945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gamma/>
                    <a:tint val="0"/>
                    <a:invGamma/>
                  </a:srgbClr>
                </a:gs>
                <a:gs pos="100000">
                  <a:srgbClr val="D6E1E2">
                    <a:alpha val="38000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17" name="Text Box 69">
              <a:extLst>
                <a:ext uri="{FF2B5EF4-FFF2-40B4-BE49-F238E27FC236}">
                  <a16:creationId xmlns:a16="http://schemas.microsoft.com/office/drawing/2014/main" id="{84C3ECED-E2A1-4DA4-90A6-EDE283FDC80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55" y="2117"/>
              <a:ext cx="1297" cy="7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5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itchFamily="34" charset="0"/>
                </a:rPr>
                <a:t>Nội Dung</a:t>
              </a:r>
            </a:p>
          </p:txBody>
        </p:sp>
      </p:grpSp>
      <p:sp>
        <p:nvSpPr>
          <p:cNvPr id="18" name="AutoShape 45">
            <a:extLst>
              <a:ext uri="{FF2B5EF4-FFF2-40B4-BE49-F238E27FC236}">
                <a16:creationId xmlns:a16="http://schemas.microsoft.com/office/drawing/2014/main" id="{DD34CC32-BE98-4B35-A77D-1ECA472F474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45906" y="1272819"/>
            <a:ext cx="4460875" cy="395958"/>
          </a:xfrm>
          <a:prstGeom prst="roundRect">
            <a:avLst>
              <a:gd name="adj" fmla="val 50000"/>
            </a:avLst>
          </a:prstGeom>
          <a:solidFill>
            <a:srgbClr val="ADCFC1">
              <a:lumMod val="60000"/>
              <a:lumOff val="40000"/>
            </a:srgbClr>
          </a:soli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hái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quá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đề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AutoShape 45">
            <a:extLst>
              <a:ext uri="{FF2B5EF4-FFF2-40B4-BE49-F238E27FC236}">
                <a16:creationId xmlns:a16="http://schemas.microsoft.com/office/drawing/2014/main" id="{B03EAE21-7970-46C1-AD75-C8F5A403BB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81849" y="2099723"/>
            <a:ext cx="4532312" cy="423002"/>
          </a:xfrm>
          <a:prstGeom prst="roundRect">
            <a:avLst>
              <a:gd name="adj" fmla="val 50000"/>
            </a:avLst>
          </a:prstGeom>
          <a:solidFill>
            <a:srgbClr val="ADCFC1">
              <a:lumMod val="60000"/>
              <a:lumOff val="40000"/>
            </a:srgbClr>
          </a:soli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Nội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dung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</a:t>
            </a:r>
            <a:r>
              <a:rPr lang="en-US" sz="2000" kern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ực</a:t>
            </a:r>
            <a:r>
              <a:rPr lang="en-US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kern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AutoShape 45">
            <a:extLst>
              <a:ext uri="{FF2B5EF4-FFF2-40B4-BE49-F238E27FC236}">
                <a16:creationId xmlns:a16="http://schemas.microsoft.com/office/drawing/2014/main" id="{FD31B989-981C-4C29-898F-9D27067898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64615" y="3043182"/>
            <a:ext cx="4532312" cy="396928"/>
          </a:xfrm>
          <a:prstGeom prst="roundRect">
            <a:avLst>
              <a:gd name="adj" fmla="val 50000"/>
            </a:avLst>
          </a:prstGeom>
          <a:solidFill>
            <a:srgbClr val="ADCFC1">
              <a:lumMod val="60000"/>
              <a:lumOff val="40000"/>
            </a:srgbClr>
          </a:soli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ế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quả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đạ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đ</a:t>
            </a:r>
            <a:r>
              <a:rPr kumimoji="0" lang="vi-VN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ợc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AutoShape 45">
            <a:extLst>
              <a:ext uri="{FF2B5EF4-FFF2-40B4-BE49-F238E27FC236}">
                <a16:creationId xmlns:a16="http://schemas.microsoft.com/office/drawing/2014/main" id="{9F5CE43D-88AB-4124-951E-C12AFAE6841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81849" y="3991620"/>
            <a:ext cx="4532312" cy="432651"/>
          </a:xfrm>
          <a:prstGeom prst="roundRect">
            <a:avLst>
              <a:gd name="adj" fmla="val 50000"/>
            </a:avLst>
          </a:prstGeom>
          <a:solidFill>
            <a:srgbClr val="ADCFC1">
              <a:lumMod val="60000"/>
              <a:lumOff val="40000"/>
            </a:srgbClr>
          </a:soli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uận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lợi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hó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hăn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2" name="Group 39">
            <a:extLst>
              <a:ext uri="{FF2B5EF4-FFF2-40B4-BE49-F238E27FC236}">
                <a16:creationId xmlns:a16="http://schemas.microsoft.com/office/drawing/2014/main" id="{5F938DA3-C293-4381-8784-22F942B3F1B7}"/>
              </a:ext>
            </a:extLst>
          </p:cNvPr>
          <p:cNvGrpSpPr>
            <a:grpSpLocks/>
          </p:cNvGrpSpPr>
          <p:nvPr/>
        </p:nvGrpSpPr>
        <p:grpSpPr bwMode="auto">
          <a:xfrm>
            <a:off x="2782316" y="1451616"/>
            <a:ext cx="1547207" cy="1700034"/>
            <a:chOff x="1207" y="1329"/>
            <a:chExt cx="801" cy="709"/>
          </a:xfrm>
        </p:grpSpPr>
        <p:sp>
          <p:nvSpPr>
            <p:cNvPr id="23" name="Line 40">
              <a:extLst>
                <a:ext uri="{FF2B5EF4-FFF2-40B4-BE49-F238E27FC236}">
                  <a16:creationId xmlns:a16="http://schemas.microsoft.com/office/drawing/2014/main" id="{E45B9B39-714F-42C7-82F5-4E720EECB55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01" y="1329"/>
              <a:ext cx="307" cy="4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24" name="Line 41">
              <a:extLst>
                <a:ext uri="{FF2B5EF4-FFF2-40B4-BE49-F238E27FC236}">
                  <a16:creationId xmlns:a16="http://schemas.microsoft.com/office/drawing/2014/main" id="{706D1ABC-B54F-43C2-B074-75E1DD14D6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07" y="1337"/>
              <a:ext cx="488" cy="701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</p:grpSp>
      <p:grpSp>
        <p:nvGrpSpPr>
          <p:cNvPr id="25" name="Group 39">
            <a:extLst>
              <a:ext uri="{FF2B5EF4-FFF2-40B4-BE49-F238E27FC236}">
                <a16:creationId xmlns:a16="http://schemas.microsoft.com/office/drawing/2014/main" id="{85BD1354-AE6E-4738-9652-E204E360708F}"/>
              </a:ext>
            </a:extLst>
          </p:cNvPr>
          <p:cNvGrpSpPr>
            <a:grpSpLocks/>
          </p:cNvGrpSpPr>
          <p:nvPr/>
        </p:nvGrpSpPr>
        <p:grpSpPr bwMode="auto">
          <a:xfrm>
            <a:off x="2796342" y="2324248"/>
            <a:ext cx="1581655" cy="808056"/>
            <a:chOff x="1214" y="1390"/>
            <a:chExt cx="790" cy="569"/>
          </a:xfrm>
        </p:grpSpPr>
        <p:sp>
          <p:nvSpPr>
            <p:cNvPr id="26" name="Line 40">
              <a:extLst>
                <a:ext uri="{FF2B5EF4-FFF2-40B4-BE49-F238E27FC236}">
                  <a16:creationId xmlns:a16="http://schemas.microsoft.com/office/drawing/2014/main" id="{01AE1E93-CCD4-4353-8559-41BB1F97E85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25" y="1390"/>
              <a:ext cx="279" cy="11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27" name="Line 41">
              <a:extLst>
                <a:ext uri="{FF2B5EF4-FFF2-40B4-BE49-F238E27FC236}">
                  <a16:creationId xmlns:a16="http://schemas.microsoft.com/office/drawing/2014/main" id="{FFB37AAF-A109-4559-912C-04AD91CAEB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14" y="1401"/>
              <a:ext cx="508" cy="558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</p:grpSp>
      <p:grpSp>
        <p:nvGrpSpPr>
          <p:cNvPr id="28" name="Group 39">
            <a:extLst>
              <a:ext uri="{FF2B5EF4-FFF2-40B4-BE49-F238E27FC236}">
                <a16:creationId xmlns:a16="http://schemas.microsoft.com/office/drawing/2014/main" id="{89FCAE3A-7F30-4BB6-A232-DBFF9EA7572B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2768469" y="3287642"/>
            <a:ext cx="1571520" cy="948697"/>
            <a:chOff x="1261" y="1483"/>
            <a:chExt cx="729" cy="407"/>
          </a:xfrm>
        </p:grpSpPr>
        <p:sp>
          <p:nvSpPr>
            <p:cNvPr id="29" name="Line 40">
              <a:extLst>
                <a:ext uri="{FF2B5EF4-FFF2-40B4-BE49-F238E27FC236}">
                  <a16:creationId xmlns:a16="http://schemas.microsoft.com/office/drawing/2014/main" id="{366F0BAF-3655-4CFB-820E-D147FEFE9A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15" y="1483"/>
              <a:ext cx="275" cy="0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30" name="Line 41">
              <a:extLst>
                <a:ext uri="{FF2B5EF4-FFF2-40B4-BE49-F238E27FC236}">
                  <a16:creationId xmlns:a16="http://schemas.microsoft.com/office/drawing/2014/main" id="{81FA0F11-733F-4870-A882-C376803221E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61" y="1483"/>
              <a:ext cx="448" cy="407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</p:grpSp>
      <p:sp>
        <p:nvSpPr>
          <p:cNvPr id="31" name="Line 41">
            <a:extLst>
              <a:ext uri="{FF2B5EF4-FFF2-40B4-BE49-F238E27FC236}">
                <a16:creationId xmlns:a16="http://schemas.microsoft.com/office/drawing/2014/main" id="{A019244D-88D5-4AFE-91CB-21AC6BB433D9}"/>
              </a:ext>
            </a:extLst>
          </p:cNvPr>
          <p:cNvSpPr>
            <a:spLocks noChangeShapeType="1"/>
          </p:cNvSpPr>
          <p:nvPr/>
        </p:nvSpPr>
        <p:spPr bwMode="auto">
          <a:xfrm>
            <a:off x="2782316" y="3202910"/>
            <a:ext cx="1547207" cy="16294"/>
          </a:xfrm>
          <a:prstGeom prst="line">
            <a:avLst/>
          </a:prstGeom>
          <a:noFill/>
          <a:ln w="12700">
            <a:solidFill>
              <a:srgbClr val="1F5281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1F5281"/>
              </a:solidFill>
              <a:effectLst/>
              <a:uLnTx/>
              <a:uFillTx/>
              <a:latin typeface="Verdana" pitchFamily="34" charset="0"/>
            </a:endParaRPr>
          </a:p>
        </p:txBody>
      </p:sp>
      <p:sp>
        <p:nvSpPr>
          <p:cNvPr id="36" name="AutoShape 45">
            <a:extLst>
              <a:ext uri="{FF2B5EF4-FFF2-40B4-BE49-F238E27FC236}">
                <a16:creationId xmlns:a16="http://schemas.microsoft.com/office/drawing/2014/main" id="{118CF313-FE04-4B0D-B0EC-668CF51E4A34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61597" y="4870095"/>
            <a:ext cx="4532312" cy="433386"/>
          </a:xfrm>
          <a:prstGeom prst="roundRect">
            <a:avLst>
              <a:gd name="adj" fmla="val 50000"/>
            </a:avLst>
          </a:prstGeom>
          <a:solidFill>
            <a:srgbClr val="ADCFC1">
              <a:lumMod val="60000"/>
              <a:lumOff val="40000"/>
            </a:srgbClr>
          </a:soli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kumimoji="0" lang="vi-VN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ớng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hát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riển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7" name="Group 39">
            <a:extLst>
              <a:ext uri="{FF2B5EF4-FFF2-40B4-BE49-F238E27FC236}">
                <a16:creationId xmlns:a16="http://schemas.microsoft.com/office/drawing/2014/main" id="{3A872012-81E6-431E-8E2C-64FB1241D020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2757690" y="3292236"/>
            <a:ext cx="1582299" cy="1769192"/>
            <a:chOff x="1237" y="1403"/>
            <a:chExt cx="734" cy="759"/>
          </a:xfrm>
        </p:grpSpPr>
        <p:sp>
          <p:nvSpPr>
            <p:cNvPr id="38" name="Line 40">
              <a:extLst>
                <a:ext uri="{FF2B5EF4-FFF2-40B4-BE49-F238E27FC236}">
                  <a16:creationId xmlns:a16="http://schemas.microsoft.com/office/drawing/2014/main" id="{31B48985-979D-47F3-9596-9E7A464B43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22" y="1403"/>
              <a:ext cx="249" cy="0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  <p:sp>
          <p:nvSpPr>
            <p:cNvPr id="39" name="Line 41">
              <a:extLst>
                <a:ext uri="{FF2B5EF4-FFF2-40B4-BE49-F238E27FC236}">
                  <a16:creationId xmlns:a16="http://schemas.microsoft.com/office/drawing/2014/main" id="{A8E8E898-D0E6-4E15-99E8-F4BACD0880D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37" y="1403"/>
              <a:ext cx="482" cy="759"/>
            </a:xfrm>
            <a:prstGeom prst="line">
              <a:avLst/>
            </a:prstGeom>
            <a:noFill/>
            <a:ln w="12700">
              <a:solidFill>
                <a:srgbClr val="1F528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5281"/>
                </a:solidFill>
                <a:effectLst/>
                <a:uLnTx/>
                <a:uFillTx/>
                <a:latin typeface="Verdana" pitchFamily="34" charset="0"/>
              </a:endParaRPr>
            </a:p>
          </p:txBody>
        </p:sp>
      </p:grp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05906C0-707F-4EB6-AFC4-CAF6F9C46D3D}"/>
              </a:ext>
            </a:extLst>
          </p:cNvPr>
          <p:cNvCxnSpPr>
            <a:cxnSpLocks/>
          </p:cNvCxnSpPr>
          <p:nvPr/>
        </p:nvCxnSpPr>
        <p:spPr>
          <a:xfrm>
            <a:off x="4418674" y="861390"/>
            <a:ext cx="30290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30084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C9D1765-1FE1-4493-97C6-BFDCDD533B52}"/>
              </a:ext>
            </a:extLst>
          </p:cNvPr>
          <p:cNvSpPr txBox="1"/>
          <p:nvPr/>
        </p:nvSpPr>
        <p:spPr>
          <a:xfrm>
            <a:off x="4121425" y="138905"/>
            <a:ext cx="34179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HÁI QUÁT ĐỀ TÀI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440215D-4FCE-4288-8AC4-31B5E9E168E0}"/>
              </a:ext>
            </a:extLst>
          </p:cNvPr>
          <p:cNvCxnSpPr>
            <a:cxnSpLocks/>
          </p:cNvCxnSpPr>
          <p:nvPr/>
        </p:nvCxnSpPr>
        <p:spPr>
          <a:xfrm>
            <a:off x="4310527" y="648389"/>
            <a:ext cx="30397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AutoShape 76">
            <a:extLst>
              <a:ext uri="{FF2B5EF4-FFF2-40B4-BE49-F238E27FC236}">
                <a16:creationId xmlns:a16="http://schemas.microsoft.com/office/drawing/2014/main" id="{DA860DBC-97C8-42DA-B406-184BCF938A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854" y="648389"/>
            <a:ext cx="3352799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ý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do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ọn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ề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2B61C43-A4CD-4983-9C5F-F28C3657D184}"/>
              </a:ext>
            </a:extLst>
          </p:cNvPr>
          <p:cNvSpPr/>
          <p:nvPr/>
        </p:nvSpPr>
        <p:spPr>
          <a:xfrm>
            <a:off x="1344525" y="1367654"/>
            <a:ext cx="788504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Sự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phát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iể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ượt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bậ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CNTT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đã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ma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ạ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nhiều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hành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ựu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to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ớ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mọ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ĩnh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ự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quả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ý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phò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ọ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hiế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ng</a:t>
            </a:r>
            <a:r>
              <a:rPr lang="vi-VN" sz="2400" dirty="0">
                <a:latin typeface="Times New Roman" pitchFamily="18" charset="0"/>
                <a:cs typeface="Times New Roman" pitchFamily="18" charset="0"/>
              </a:rPr>
              <a:t>ư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ờ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hủ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phò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ọ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phả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ự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iếp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àm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hủ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ô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iêu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ố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quá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nhiều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hờ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gia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Nguy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ơ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sa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sót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nhập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sổ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sách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hố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ê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l</a:t>
            </a:r>
            <a:r>
              <a:rPr lang="vi-VN" sz="2400" dirty="0">
                <a:latin typeface="Times New Roman" pitchFamily="18" charset="0"/>
                <a:cs typeface="Times New Roman" pitchFamily="18" charset="0"/>
              </a:rPr>
              <a:t>ư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u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ữ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chủ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yếu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ê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giấy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ờ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nê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hó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khă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quả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lý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l</a:t>
            </a:r>
            <a:r>
              <a:rPr lang="vi-VN" sz="2400" dirty="0">
                <a:latin typeface="Times New Roman" pitchFamily="18" charset="0"/>
                <a:cs typeface="Times New Roman" pitchFamily="18" charset="0"/>
              </a:rPr>
              <a:t>ư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u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ữ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224354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76">
            <a:extLst>
              <a:ext uri="{FF2B5EF4-FFF2-40B4-BE49-F238E27FC236}">
                <a16:creationId xmlns:a16="http://schemas.microsoft.com/office/drawing/2014/main" id="{C07DF29B-FD0D-42D7-96F8-4D210D1EE78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854" y="648389"/>
            <a:ext cx="3352799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ục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êu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ề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BCF8AD3-4034-45AA-89B1-76C3702E554D}"/>
              </a:ext>
            </a:extLst>
          </p:cNvPr>
          <p:cNvSpPr txBox="1"/>
          <p:nvPr/>
        </p:nvSpPr>
        <p:spPr>
          <a:xfrm>
            <a:off x="1073427" y="1643269"/>
            <a:ext cx="923676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ý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ò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ọ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ý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i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ũ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ư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ý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ộ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ễ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à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342900" lvl="0" indent="-342900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ê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ử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ó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ò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ọ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i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ợ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ồ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….</a:t>
            </a:r>
          </a:p>
          <a:p>
            <a:pPr marL="342900" lvl="0" indent="-342900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ố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ê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oa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ó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à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á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a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ó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í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" name="AutoShape 76">
            <a:extLst>
              <a:ext uri="{FF2B5EF4-FFF2-40B4-BE49-F238E27FC236}">
                <a16:creationId xmlns:a16="http://schemas.microsoft.com/office/drawing/2014/main" id="{F4A47D5B-3D73-423B-8C88-1DE4C38113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854" y="3429000"/>
            <a:ext cx="3389520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ạm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vi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ực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iện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F39CF40-CDFB-4523-B33C-06CD4DA9F297}"/>
              </a:ext>
            </a:extLst>
          </p:cNvPr>
          <p:cNvSpPr/>
          <p:nvPr/>
        </p:nvSpPr>
        <p:spPr>
          <a:xfrm>
            <a:off x="1073427" y="4152636"/>
            <a:ext cx="886570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ờ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a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11/2/2019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ế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6/5/2019(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ọ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ỳ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ă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ọ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018-2019)</a:t>
            </a:r>
          </a:p>
          <a:p>
            <a:pPr marL="342900" lvl="0" indent="-342900">
              <a:buFont typeface="Wingdings" panose="05000000000000000000" pitchFamily="2" charset="2"/>
              <a:buChar char="v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ố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</a:t>
            </a:r>
            <a:r>
              <a:rPr lang="vi-V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ợ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ọ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ác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ua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ườ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ạ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ọ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Cao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ẳ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ự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Vinh.</a:t>
            </a:r>
          </a:p>
        </p:txBody>
      </p:sp>
    </p:spTree>
    <p:extLst>
      <p:ext uri="{BB962C8B-B14F-4D97-AF65-F5344CB8AC3E}">
        <p14:creationId xmlns:p14="http://schemas.microsoft.com/office/powerpoint/2010/main" val="15378556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CE6142B-4201-448D-A7F3-4C30EA2B955C}"/>
              </a:ext>
            </a:extLst>
          </p:cNvPr>
          <p:cNvGrpSpPr>
            <a:grpSpLocks noChangeAspect="1"/>
          </p:cNvGrpSpPr>
          <p:nvPr/>
        </p:nvGrpSpPr>
        <p:grpSpPr>
          <a:xfrm>
            <a:off x="9369112" y="1610042"/>
            <a:ext cx="1960098" cy="1977437"/>
            <a:chOff x="9268877" y="1596791"/>
            <a:chExt cx="1005840" cy="1014737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id="{BD509AB4-4045-4662-AD5A-99F07B91C723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9268877" y="1605688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" name="Arc 4">
              <a:extLst>
                <a:ext uri="{FF2B5EF4-FFF2-40B4-BE49-F238E27FC236}">
                  <a16:creationId xmlns:a16="http://schemas.microsoft.com/office/drawing/2014/main" id="{88F777E1-9CD9-4AC5-A825-BD755E9522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68877" y="1596791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C71C2E5-A753-42AA-B52B-DE82C5FA1F4F}"/>
              </a:ext>
            </a:extLst>
          </p:cNvPr>
          <p:cNvCxnSpPr/>
          <p:nvPr/>
        </p:nvCxnSpPr>
        <p:spPr>
          <a:xfrm>
            <a:off x="1615461" y="1610042"/>
            <a:ext cx="8748215" cy="0"/>
          </a:xfrm>
          <a:prstGeom prst="line">
            <a:avLst/>
          </a:prstGeom>
          <a:ln w="152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C54CBC87-0697-46D2-B13C-80CA0F16B99C}"/>
              </a:ext>
            </a:extLst>
          </p:cNvPr>
          <p:cNvSpPr>
            <a:spLocks noChangeAspect="1"/>
          </p:cNvSpPr>
          <p:nvPr/>
        </p:nvSpPr>
        <p:spPr>
          <a:xfrm>
            <a:off x="2755179" y="1511058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B29EC97-4F8C-4C63-A8A4-6FD55A8F84D8}"/>
              </a:ext>
            </a:extLst>
          </p:cNvPr>
          <p:cNvSpPr>
            <a:spLocks noChangeAspect="1"/>
          </p:cNvSpPr>
          <p:nvPr/>
        </p:nvSpPr>
        <p:spPr>
          <a:xfrm>
            <a:off x="8627405" y="1511058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5ED375D-7A21-494E-996D-D91BC84A668D}"/>
              </a:ext>
            </a:extLst>
          </p:cNvPr>
          <p:cNvCxnSpPr/>
          <p:nvPr/>
        </p:nvCxnSpPr>
        <p:spPr>
          <a:xfrm flipV="1">
            <a:off x="2085655" y="3587411"/>
            <a:ext cx="8280000" cy="68"/>
          </a:xfrm>
          <a:prstGeom prst="line">
            <a:avLst/>
          </a:prstGeom>
          <a:ln w="152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362B42E-6649-4F4D-AA40-5C05E9528DD2}"/>
              </a:ext>
            </a:extLst>
          </p:cNvPr>
          <p:cNvCxnSpPr/>
          <p:nvPr/>
        </p:nvCxnSpPr>
        <p:spPr>
          <a:xfrm flipV="1">
            <a:off x="2085655" y="5564605"/>
            <a:ext cx="8280000" cy="68"/>
          </a:xfrm>
          <a:prstGeom prst="line">
            <a:avLst/>
          </a:prstGeom>
          <a:ln w="1524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1C5E0EB-0046-45E8-9CC0-E7020D764AC0}"/>
              </a:ext>
            </a:extLst>
          </p:cNvPr>
          <p:cNvSpPr txBox="1"/>
          <p:nvPr/>
        </p:nvSpPr>
        <p:spPr>
          <a:xfrm>
            <a:off x="1916072" y="1677426"/>
            <a:ext cx="1909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u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ập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êu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ầu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1B36976-150B-442D-87F6-F45611A0ED8A}"/>
              </a:ext>
            </a:extLst>
          </p:cNvPr>
          <p:cNvSpPr txBox="1"/>
          <p:nvPr/>
        </p:nvSpPr>
        <p:spPr>
          <a:xfrm>
            <a:off x="7732525" y="1678647"/>
            <a:ext cx="20377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ích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ệ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ống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3" name="POWER_USER_ID_ICONS_Gavel">
            <a:extLst>
              <a:ext uri="{FF2B5EF4-FFF2-40B4-BE49-F238E27FC236}">
                <a16:creationId xmlns:a16="http://schemas.microsoft.com/office/drawing/2014/main" id="{84C0A696-155B-4004-A029-E8B01CA76EB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8396269" y="891159"/>
            <a:ext cx="537914" cy="435341"/>
            <a:chOff x="-1958181" y="55563"/>
            <a:chExt cx="715963" cy="579438"/>
          </a:xfrm>
          <a:solidFill>
            <a:schemeClr val="tx2"/>
          </a:solidFill>
        </p:grpSpPr>
        <p:sp>
          <p:nvSpPr>
            <p:cNvPr id="14" name="POWER_USER_ID_ICONS_Gavel">
              <a:extLst>
                <a:ext uri="{FF2B5EF4-FFF2-40B4-BE49-F238E27FC236}">
                  <a16:creationId xmlns:a16="http://schemas.microsoft.com/office/drawing/2014/main" id="{1AE0678F-309F-43E8-9805-6F2CA30F3D77}"/>
                </a:ext>
              </a:extLst>
            </p:cNvPr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-1532731" y="560388"/>
              <a:ext cx="209550" cy="746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5" name="POWER_USER_ID_ICONS_Gavel">
              <a:extLst>
                <a:ext uri="{FF2B5EF4-FFF2-40B4-BE49-F238E27FC236}">
                  <a16:creationId xmlns:a16="http://schemas.microsoft.com/office/drawing/2014/main" id="{CE80D5EB-5E5C-4B64-8153-BE3236C5B459}"/>
                </a:ext>
              </a:extLst>
            </p:cNvPr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-1643856" y="604838"/>
              <a:ext cx="401638" cy="30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6" name="POWER_USER_ID_ICONS_Gavel">
              <a:extLst>
                <a:ext uri="{FF2B5EF4-FFF2-40B4-BE49-F238E27FC236}">
                  <a16:creationId xmlns:a16="http://schemas.microsoft.com/office/drawing/2014/main" id="{760B51B1-A248-40DD-9DA3-548E636E506E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-1593056" y="176213"/>
              <a:ext cx="152400" cy="161925"/>
            </a:xfrm>
            <a:custGeom>
              <a:avLst/>
              <a:gdLst>
                <a:gd name="T0" fmla="*/ 222 w 257"/>
                <a:gd name="T1" fmla="*/ 90 h 270"/>
                <a:gd name="T2" fmla="*/ 156 w 257"/>
                <a:gd name="T3" fmla="*/ 0 h 270"/>
                <a:gd name="T4" fmla="*/ 0 w 257"/>
                <a:gd name="T5" fmla="*/ 86 h 270"/>
                <a:gd name="T6" fmla="*/ 39 w 257"/>
                <a:gd name="T7" fmla="*/ 192 h 270"/>
                <a:gd name="T8" fmla="*/ 94 w 257"/>
                <a:gd name="T9" fmla="*/ 270 h 270"/>
                <a:gd name="T10" fmla="*/ 257 w 257"/>
                <a:gd name="T11" fmla="*/ 180 h 270"/>
                <a:gd name="T12" fmla="*/ 222 w 257"/>
                <a:gd name="T13" fmla="*/ 9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270">
                  <a:moveTo>
                    <a:pt x="222" y="90"/>
                  </a:moveTo>
                  <a:cubicBezTo>
                    <a:pt x="203" y="54"/>
                    <a:pt x="180" y="23"/>
                    <a:pt x="156" y="0"/>
                  </a:cubicBezTo>
                  <a:lnTo>
                    <a:pt x="0" y="86"/>
                  </a:lnTo>
                  <a:cubicBezTo>
                    <a:pt x="7" y="119"/>
                    <a:pt x="20" y="156"/>
                    <a:pt x="39" y="192"/>
                  </a:cubicBezTo>
                  <a:cubicBezTo>
                    <a:pt x="55" y="222"/>
                    <a:pt x="74" y="249"/>
                    <a:pt x="94" y="270"/>
                  </a:cubicBezTo>
                  <a:lnTo>
                    <a:pt x="257" y="180"/>
                  </a:lnTo>
                  <a:cubicBezTo>
                    <a:pt x="250" y="151"/>
                    <a:pt x="238" y="121"/>
                    <a:pt x="222" y="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POWER_USER_ID_ICONS_Gavel">
              <a:extLst>
                <a:ext uri="{FF2B5EF4-FFF2-40B4-BE49-F238E27FC236}">
                  <a16:creationId xmlns:a16="http://schemas.microsoft.com/office/drawing/2014/main" id="{D323F69C-FB09-49E9-A770-2B1CE072342D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-1575594" y="273050"/>
              <a:ext cx="231775" cy="184150"/>
            </a:xfrm>
            <a:custGeom>
              <a:avLst/>
              <a:gdLst>
                <a:gd name="T0" fmla="*/ 376 w 388"/>
                <a:gd name="T1" fmla="*/ 96 h 309"/>
                <a:gd name="T2" fmla="*/ 341 w 388"/>
                <a:gd name="T3" fmla="*/ 31 h 309"/>
                <a:gd name="T4" fmla="*/ 278 w 388"/>
                <a:gd name="T5" fmla="*/ 12 h 309"/>
                <a:gd name="T6" fmla="*/ 31 w 388"/>
                <a:gd name="T7" fmla="*/ 149 h 309"/>
                <a:gd name="T8" fmla="*/ 12 w 388"/>
                <a:gd name="T9" fmla="*/ 213 h 309"/>
                <a:gd name="T10" fmla="*/ 47 w 388"/>
                <a:gd name="T11" fmla="*/ 278 h 309"/>
                <a:gd name="T12" fmla="*/ 110 w 388"/>
                <a:gd name="T13" fmla="*/ 297 h 309"/>
                <a:gd name="T14" fmla="*/ 357 w 388"/>
                <a:gd name="T15" fmla="*/ 160 h 309"/>
                <a:gd name="T16" fmla="*/ 376 w 388"/>
                <a:gd name="T17" fmla="*/ 96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309">
                  <a:moveTo>
                    <a:pt x="376" y="96"/>
                  </a:moveTo>
                  <a:lnTo>
                    <a:pt x="341" y="31"/>
                  </a:lnTo>
                  <a:cubicBezTo>
                    <a:pt x="328" y="8"/>
                    <a:pt x="300" y="0"/>
                    <a:pt x="278" y="12"/>
                  </a:cubicBezTo>
                  <a:lnTo>
                    <a:pt x="31" y="149"/>
                  </a:lnTo>
                  <a:cubicBezTo>
                    <a:pt x="8" y="161"/>
                    <a:pt x="0" y="190"/>
                    <a:pt x="12" y="213"/>
                  </a:cubicBezTo>
                  <a:lnTo>
                    <a:pt x="47" y="278"/>
                  </a:lnTo>
                  <a:cubicBezTo>
                    <a:pt x="60" y="301"/>
                    <a:pt x="88" y="309"/>
                    <a:pt x="110" y="297"/>
                  </a:cubicBezTo>
                  <a:lnTo>
                    <a:pt x="357" y="160"/>
                  </a:lnTo>
                  <a:cubicBezTo>
                    <a:pt x="380" y="148"/>
                    <a:pt x="388" y="119"/>
                    <a:pt x="376" y="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8" name="POWER_USER_ID_ICONS_Gavel">
              <a:extLst>
                <a:ext uri="{FF2B5EF4-FFF2-40B4-BE49-F238E27FC236}">
                  <a16:creationId xmlns:a16="http://schemas.microsoft.com/office/drawing/2014/main" id="{D31A3220-2053-404D-B550-0FA5DA3C14BF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-1958181" y="268288"/>
              <a:ext cx="396875" cy="231775"/>
            </a:xfrm>
            <a:custGeom>
              <a:avLst/>
              <a:gdLst>
                <a:gd name="T0" fmla="*/ 11 w 666"/>
                <a:gd name="T1" fmla="*/ 361 h 388"/>
                <a:gd name="T2" fmla="*/ 56 w 666"/>
                <a:gd name="T3" fmla="*/ 381 h 388"/>
                <a:gd name="T4" fmla="*/ 648 w 666"/>
                <a:gd name="T5" fmla="*/ 75 h 388"/>
                <a:gd name="T6" fmla="*/ 655 w 666"/>
                <a:gd name="T7" fmla="*/ 29 h 388"/>
                <a:gd name="T8" fmla="*/ 654 w 666"/>
                <a:gd name="T9" fmla="*/ 27 h 388"/>
                <a:gd name="T10" fmla="*/ 609 w 666"/>
                <a:gd name="T11" fmla="*/ 8 h 388"/>
                <a:gd name="T12" fmla="*/ 17 w 666"/>
                <a:gd name="T13" fmla="*/ 313 h 388"/>
                <a:gd name="T14" fmla="*/ 10 w 666"/>
                <a:gd name="T15" fmla="*/ 360 h 388"/>
                <a:gd name="T16" fmla="*/ 11 w 666"/>
                <a:gd name="T17" fmla="*/ 36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6" h="388">
                  <a:moveTo>
                    <a:pt x="11" y="361"/>
                  </a:moveTo>
                  <a:cubicBezTo>
                    <a:pt x="21" y="379"/>
                    <a:pt x="42" y="388"/>
                    <a:pt x="56" y="381"/>
                  </a:cubicBezTo>
                  <a:lnTo>
                    <a:pt x="648" y="75"/>
                  </a:lnTo>
                  <a:cubicBezTo>
                    <a:pt x="663" y="68"/>
                    <a:pt x="666" y="47"/>
                    <a:pt x="655" y="29"/>
                  </a:cubicBezTo>
                  <a:lnTo>
                    <a:pt x="654" y="27"/>
                  </a:lnTo>
                  <a:cubicBezTo>
                    <a:pt x="644" y="9"/>
                    <a:pt x="624" y="0"/>
                    <a:pt x="609" y="8"/>
                  </a:cubicBezTo>
                  <a:lnTo>
                    <a:pt x="17" y="313"/>
                  </a:lnTo>
                  <a:cubicBezTo>
                    <a:pt x="3" y="320"/>
                    <a:pt x="0" y="341"/>
                    <a:pt x="10" y="360"/>
                  </a:cubicBezTo>
                  <a:lnTo>
                    <a:pt x="11" y="3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POWER_USER_ID_ICONS_Gavel">
              <a:extLst>
                <a:ext uri="{FF2B5EF4-FFF2-40B4-BE49-F238E27FC236}">
                  <a16:creationId xmlns:a16="http://schemas.microsoft.com/office/drawing/2014/main" id="{C3B4FDDE-4817-4E61-8161-7B5F40145B20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-1696244" y="55563"/>
              <a:ext cx="231775" cy="185738"/>
            </a:xfrm>
            <a:custGeom>
              <a:avLst/>
              <a:gdLst>
                <a:gd name="T0" fmla="*/ 12 w 388"/>
                <a:gd name="T1" fmla="*/ 213 h 310"/>
                <a:gd name="T2" fmla="*/ 30 w 388"/>
                <a:gd name="T3" fmla="*/ 150 h 310"/>
                <a:gd name="T4" fmla="*/ 277 w 388"/>
                <a:gd name="T5" fmla="*/ 13 h 310"/>
                <a:gd name="T6" fmla="*/ 340 w 388"/>
                <a:gd name="T7" fmla="*/ 31 h 310"/>
                <a:gd name="T8" fmla="*/ 375 w 388"/>
                <a:gd name="T9" fmla="*/ 97 h 310"/>
                <a:gd name="T10" fmla="*/ 357 w 388"/>
                <a:gd name="T11" fmla="*/ 161 h 310"/>
                <a:gd name="T12" fmla="*/ 110 w 388"/>
                <a:gd name="T13" fmla="*/ 298 h 310"/>
                <a:gd name="T14" fmla="*/ 47 w 388"/>
                <a:gd name="T15" fmla="*/ 279 h 310"/>
                <a:gd name="T16" fmla="*/ 12 w 388"/>
                <a:gd name="T17" fmla="*/ 213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8" h="310">
                  <a:moveTo>
                    <a:pt x="12" y="213"/>
                  </a:moveTo>
                  <a:cubicBezTo>
                    <a:pt x="0" y="191"/>
                    <a:pt x="8" y="162"/>
                    <a:pt x="30" y="150"/>
                  </a:cubicBezTo>
                  <a:lnTo>
                    <a:pt x="277" y="13"/>
                  </a:lnTo>
                  <a:cubicBezTo>
                    <a:pt x="300" y="0"/>
                    <a:pt x="328" y="9"/>
                    <a:pt x="340" y="31"/>
                  </a:cubicBezTo>
                  <a:lnTo>
                    <a:pt x="375" y="97"/>
                  </a:lnTo>
                  <a:cubicBezTo>
                    <a:pt x="388" y="120"/>
                    <a:pt x="379" y="148"/>
                    <a:pt x="357" y="161"/>
                  </a:cubicBezTo>
                  <a:lnTo>
                    <a:pt x="110" y="298"/>
                  </a:lnTo>
                  <a:cubicBezTo>
                    <a:pt x="87" y="310"/>
                    <a:pt x="59" y="302"/>
                    <a:pt x="47" y="279"/>
                  </a:cubicBezTo>
                  <a:lnTo>
                    <a:pt x="12" y="2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0" name="POWER_USER_ID_ICONS_Big_Idea">
            <a:extLst>
              <a:ext uri="{FF2B5EF4-FFF2-40B4-BE49-F238E27FC236}">
                <a16:creationId xmlns:a16="http://schemas.microsoft.com/office/drawing/2014/main" id="{36E6AD2C-5755-498C-88B8-1BB552AAADAE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2644653" y="828175"/>
            <a:ext cx="471697" cy="496487"/>
            <a:chOff x="3544" y="-299"/>
            <a:chExt cx="4110" cy="4326"/>
          </a:xfrm>
          <a:solidFill>
            <a:schemeClr val="tx2"/>
          </a:solidFill>
        </p:grpSpPr>
        <p:sp>
          <p:nvSpPr>
            <p:cNvPr id="21" name="Freeform 1368">
              <a:extLst>
                <a:ext uri="{FF2B5EF4-FFF2-40B4-BE49-F238E27FC236}">
                  <a16:creationId xmlns:a16="http://schemas.microsoft.com/office/drawing/2014/main" id="{B5189DE3-99D7-41B8-A6FF-44B0F43818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7" y="1236"/>
              <a:ext cx="393" cy="372"/>
            </a:xfrm>
            <a:custGeom>
              <a:avLst/>
              <a:gdLst>
                <a:gd name="T0" fmla="*/ 59 w 116"/>
                <a:gd name="T1" fmla="*/ 110 h 110"/>
                <a:gd name="T2" fmla="*/ 3 w 116"/>
                <a:gd name="T3" fmla="*/ 76 h 110"/>
                <a:gd name="T4" fmla="*/ 0 w 116"/>
                <a:gd name="T5" fmla="*/ 71 h 110"/>
                <a:gd name="T6" fmla="*/ 0 w 116"/>
                <a:gd name="T7" fmla="*/ 0 h 110"/>
                <a:gd name="T8" fmla="*/ 116 w 116"/>
                <a:gd name="T9" fmla="*/ 0 h 110"/>
                <a:gd name="T10" fmla="*/ 116 w 116"/>
                <a:gd name="T11" fmla="*/ 77 h 110"/>
                <a:gd name="T12" fmla="*/ 113 w 116"/>
                <a:gd name="T13" fmla="*/ 82 h 110"/>
                <a:gd name="T14" fmla="*/ 59 w 116"/>
                <a:gd name="T15" fmla="*/ 110 h 110"/>
                <a:gd name="T16" fmla="*/ 35 w 116"/>
                <a:gd name="T17" fmla="*/ 60 h 110"/>
                <a:gd name="T18" fmla="*/ 59 w 116"/>
                <a:gd name="T19" fmla="*/ 75 h 110"/>
                <a:gd name="T20" fmla="*/ 82 w 116"/>
                <a:gd name="T21" fmla="*/ 64 h 110"/>
                <a:gd name="T22" fmla="*/ 82 w 116"/>
                <a:gd name="T23" fmla="*/ 34 h 110"/>
                <a:gd name="T24" fmla="*/ 35 w 116"/>
                <a:gd name="T25" fmla="*/ 34 h 110"/>
                <a:gd name="T26" fmla="*/ 35 w 116"/>
                <a:gd name="T27" fmla="*/ 6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10">
                  <a:moveTo>
                    <a:pt x="59" y="110"/>
                  </a:moveTo>
                  <a:cubicBezTo>
                    <a:pt x="38" y="110"/>
                    <a:pt x="19" y="99"/>
                    <a:pt x="3" y="76"/>
                  </a:cubicBezTo>
                  <a:lnTo>
                    <a:pt x="0" y="71"/>
                  </a:lnTo>
                  <a:lnTo>
                    <a:pt x="0" y="0"/>
                  </a:lnTo>
                  <a:lnTo>
                    <a:pt x="116" y="0"/>
                  </a:lnTo>
                  <a:lnTo>
                    <a:pt x="116" y="77"/>
                  </a:lnTo>
                  <a:lnTo>
                    <a:pt x="113" y="82"/>
                  </a:lnTo>
                  <a:cubicBezTo>
                    <a:pt x="110" y="85"/>
                    <a:pt x="90" y="110"/>
                    <a:pt x="59" y="110"/>
                  </a:cubicBezTo>
                  <a:close/>
                  <a:moveTo>
                    <a:pt x="35" y="60"/>
                  </a:moveTo>
                  <a:cubicBezTo>
                    <a:pt x="43" y="70"/>
                    <a:pt x="51" y="75"/>
                    <a:pt x="59" y="75"/>
                  </a:cubicBezTo>
                  <a:cubicBezTo>
                    <a:pt x="68" y="75"/>
                    <a:pt x="76" y="69"/>
                    <a:pt x="82" y="64"/>
                  </a:cubicBezTo>
                  <a:lnTo>
                    <a:pt x="82" y="34"/>
                  </a:lnTo>
                  <a:lnTo>
                    <a:pt x="35" y="34"/>
                  </a:lnTo>
                  <a:lnTo>
                    <a:pt x="35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Freeform 1369">
              <a:extLst>
                <a:ext uri="{FF2B5EF4-FFF2-40B4-BE49-F238E27FC236}">
                  <a16:creationId xmlns:a16="http://schemas.microsoft.com/office/drawing/2014/main" id="{ECFFA15F-2B97-4D01-AC43-167393C0B2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1" y="558"/>
              <a:ext cx="318" cy="678"/>
            </a:xfrm>
            <a:custGeom>
              <a:avLst/>
              <a:gdLst>
                <a:gd name="T0" fmla="*/ 74 w 94"/>
                <a:gd name="T1" fmla="*/ 182 h 200"/>
                <a:gd name="T2" fmla="*/ 23 w 94"/>
                <a:gd name="T3" fmla="*/ 34 h 200"/>
                <a:gd name="T4" fmla="*/ 49 w 94"/>
                <a:gd name="T5" fmla="*/ 26 h 200"/>
                <a:gd name="T6" fmla="*/ 93 w 94"/>
                <a:gd name="T7" fmla="*/ 159 h 200"/>
                <a:gd name="T8" fmla="*/ 74 w 94"/>
                <a:gd name="T9" fmla="*/ 18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200">
                  <a:moveTo>
                    <a:pt x="74" y="182"/>
                  </a:moveTo>
                  <a:cubicBezTo>
                    <a:pt x="53" y="149"/>
                    <a:pt x="65" y="95"/>
                    <a:pt x="23" y="34"/>
                  </a:cubicBezTo>
                  <a:cubicBezTo>
                    <a:pt x="0" y="0"/>
                    <a:pt x="37" y="8"/>
                    <a:pt x="49" y="26"/>
                  </a:cubicBezTo>
                  <a:cubicBezTo>
                    <a:pt x="64" y="49"/>
                    <a:pt x="88" y="125"/>
                    <a:pt x="93" y="159"/>
                  </a:cubicBezTo>
                  <a:cubicBezTo>
                    <a:pt x="94" y="167"/>
                    <a:pt x="86" y="200"/>
                    <a:pt x="74" y="18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3" name="Freeform 1370">
              <a:extLst>
                <a:ext uri="{FF2B5EF4-FFF2-40B4-BE49-F238E27FC236}">
                  <a16:creationId xmlns:a16="http://schemas.microsoft.com/office/drawing/2014/main" id="{72F327E4-156B-4F24-8283-277126A1A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4" y="334"/>
              <a:ext cx="253" cy="678"/>
            </a:xfrm>
            <a:custGeom>
              <a:avLst/>
              <a:gdLst>
                <a:gd name="T0" fmla="*/ 57 w 75"/>
                <a:gd name="T1" fmla="*/ 181 h 200"/>
                <a:gd name="T2" fmla="*/ 19 w 75"/>
                <a:gd name="T3" fmla="*/ 36 h 200"/>
                <a:gd name="T4" fmla="*/ 45 w 75"/>
                <a:gd name="T5" fmla="*/ 32 h 200"/>
                <a:gd name="T6" fmla="*/ 75 w 75"/>
                <a:gd name="T7" fmla="*/ 169 h 200"/>
                <a:gd name="T8" fmla="*/ 57 w 75"/>
                <a:gd name="T9" fmla="*/ 181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200">
                  <a:moveTo>
                    <a:pt x="57" y="181"/>
                  </a:moveTo>
                  <a:cubicBezTo>
                    <a:pt x="40" y="146"/>
                    <a:pt x="54" y="102"/>
                    <a:pt x="19" y="36"/>
                  </a:cubicBezTo>
                  <a:cubicBezTo>
                    <a:pt x="0" y="0"/>
                    <a:pt x="36" y="13"/>
                    <a:pt x="45" y="32"/>
                  </a:cubicBezTo>
                  <a:cubicBezTo>
                    <a:pt x="58" y="56"/>
                    <a:pt x="74" y="134"/>
                    <a:pt x="75" y="169"/>
                  </a:cubicBezTo>
                  <a:cubicBezTo>
                    <a:pt x="75" y="177"/>
                    <a:pt x="67" y="200"/>
                    <a:pt x="57" y="1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4" name="Freeform 1371">
              <a:extLst>
                <a:ext uri="{FF2B5EF4-FFF2-40B4-BE49-F238E27FC236}">
                  <a16:creationId xmlns:a16="http://schemas.microsoft.com/office/drawing/2014/main" id="{89E562A9-C7D1-40D4-8FE2-766CDD7F5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9" y="-299"/>
              <a:ext cx="1492" cy="1030"/>
            </a:xfrm>
            <a:custGeom>
              <a:avLst/>
              <a:gdLst>
                <a:gd name="T0" fmla="*/ 364 w 441"/>
                <a:gd name="T1" fmla="*/ 93 h 304"/>
                <a:gd name="T2" fmla="*/ 247 w 441"/>
                <a:gd name="T3" fmla="*/ 44 h 304"/>
                <a:gd name="T4" fmla="*/ 147 w 441"/>
                <a:gd name="T5" fmla="*/ 83 h 304"/>
                <a:gd name="T6" fmla="*/ 99 w 441"/>
                <a:gd name="T7" fmla="*/ 162 h 304"/>
                <a:gd name="T8" fmla="*/ 110 w 441"/>
                <a:gd name="T9" fmla="*/ 295 h 304"/>
                <a:gd name="T10" fmla="*/ 112 w 441"/>
                <a:gd name="T11" fmla="*/ 257 h 304"/>
                <a:gd name="T12" fmla="*/ 106 w 441"/>
                <a:gd name="T13" fmla="*/ 187 h 304"/>
                <a:gd name="T14" fmla="*/ 112 w 441"/>
                <a:gd name="T15" fmla="*/ 181 h 304"/>
                <a:gd name="T16" fmla="*/ 125 w 441"/>
                <a:gd name="T17" fmla="*/ 154 h 304"/>
                <a:gd name="T18" fmla="*/ 144 w 441"/>
                <a:gd name="T19" fmla="*/ 104 h 304"/>
                <a:gd name="T20" fmla="*/ 144 w 441"/>
                <a:gd name="T21" fmla="*/ 105 h 304"/>
                <a:gd name="T22" fmla="*/ 177 w 441"/>
                <a:gd name="T23" fmla="*/ 94 h 304"/>
                <a:gd name="T24" fmla="*/ 225 w 441"/>
                <a:gd name="T25" fmla="*/ 62 h 304"/>
                <a:gd name="T26" fmla="*/ 264 w 441"/>
                <a:gd name="T27" fmla="*/ 77 h 304"/>
                <a:gd name="T28" fmla="*/ 336 w 441"/>
                <a:gd name="T29" fmla="*/ 104 h 304"/>
                <a:gd name="T30" fmla="*/ 365 w 441"/>
                <a:gd name="T31" fmla="*/ 120 h 304"/>
                <a:gd name="T32" fmla="*/ 365 w 441"/>
                <a:gd name="T33" fmla="*/ 115 h 304"/>
                <a:gd name="T34" fmla="*/ 385 w 441"/>
                <a:gd name="T35" fmla="*/ 167 h 304"/>
                <a:gd name="T36" fmla="*/ 382 w 441"/>
                <a:gd name="T37" fmla="*/ 172 h 304"/>
                <a:gd name="T38" fmla="*/ 363 w 441"/>
                <a:gd name="T39" fmla="*/ 162 h 304"/>
                <a:gd name="T40" fmla="*/ 365 w 441"/>
                <a:gd name="T41" fmla="*/ 190 h 304"/>
                <a:gd name="T42" fmla="*/ 360 w 441"/>
                <a:gd name="T43" fmla="*/ 255 h 304"/>
                <a:gd name="T44" fmla="*/ 361 w 441"/>
                <a:gd name="T45" fmla="*/ 290 h 304"/>
                <a:gd name="T46" fmla="*/ 405 w 441"/>
                <a:gd name="T47" fmla="*/ 190 h 304"/>
                <a:gd name="T48" fmla="*/ 364 w 441"/>
                <a:gd name="T49" fmla="*/ 9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1" h="304">
                  <a:moveTo>
                    <a:pt x="364" y="93"/>
                  </a:moveTo>
                  <a:cubicBezTo>
                    <a:pt x="355" y="11"/>
                    <a:pt x="285" y="22"/>
                    <a:pt x="247" y="44"/>
                  </a:cubicBezTo>
                  <a:cubicBezTo>
                    <a:pt x="193" y="0"/>
                    <a:pt x="157" y="47"/>
                    <a:pt x="147" y="83"/>
                  </a:cubicBezTo>
                  <a:cubicBezTo>
                    <a:pt x="81" y="83"/>
                    <a:pt x="85" y="133"/>
                    <a:pt x="99" y="162"/>
                  </a:cubicBezTo>
                  <a:cubicBezTo>
                    <a:pt x="0" y="209"/>
                    <a:pt x="79" y="285"/>
                    <a:pt x="110" y="295"/>
                  </a:cubicBezTo>
                  <a:cubicBezTo>
                    <a:pt x="142" y="304"/>
                    <a:pt x="130" y="262"/>
                    <a:pt x="112" y="257"/>
                  </a:cubicBezTo>
                  <a:cubicBezTo>
                    <a:pt x="93" y="251"/>
                    <a:pt x="71" y="218"/>
                    <a:pt x="106" y="187"/>
                  </a:cubicBezTo>
                  <a:cubicBezTo>
                    <a:pt x="109" y="185"/>
                    <a:pt x="111" y="183"/>
                    <a:pt x="112" y="181"/>
                  </a:cubicBezTo>
                  <a:cubicBezTo>
                    <a:pt x="130" y="195"/>
                    <a:pt x="135" y="164"/>
                    <a:pt x="125" y="154"/>
                  </a:cubicBezTo>
                  <a:cubicBezTo>
                    <a:pt x="114" y="144"/>
                    <a:pt x="110" y="113"/>
                    <a:pt x="144" y="104"/>
                  </a:cubicBezTo>
                  <a:cubicBezTo>
                    <a:pt x="144" y="104"/>
                    <a:pt x="144" y="104"/>
                    <a:pt x="144" y="105"/>
                  </a:cubicBezTo>
                  <a:cubicBezTo>
                    <a:pt x="145" y="135"/>
                    <a:pt x="178" y="112"/>
                    <a:pt x="177" y="94"/>
                  </a:cubicBezTo>
                  <a:cubicBezTo>
                    <a:pt x="176" y="78"/>
                    <a:pt x="194" y="53"/>
                    <a:pt x="225" y="62"/>
                  </a:cubicBezTo>
                  <a:cubicBezTo>
                    <a:pt x="207" y="86"/>
                    <a:pt x="251" y="93"/>
                    <a:pt x="264" y="77"/>
                  </a:cubicBezTo>
                  <a:cubicBezTo>
                    <a:pt x="278" y="61"/>
                    <a:pt x="322" y="55"/>
                    <a:pt x="336" y="104"/>
                  </a:cubicBezTo>
                  <a:cubicBezTo>
                    <a:pt x="351" y="153"/>
                    <a:pt x="365" y="128"/>
                    <a:pt x="365" y="120"/>
                  </a:cubicBezTo>
                  <a:cubicBezTo>
                    <a:pt x="365" y="118"/>
                    <a:pt x="365" y="117"/>
                    <a:pt x="365" y="115"/>
                  </a:cubicBezTo>
                  <a:cubicBezTo>
                    <a:pt x="399" y="125"/>
                    <a:pt x="396" y="157"/>
                    <a:pt x="385" y="167"/>
                  </a:cubicBezTo>
                  <a:cubicBezTo>
                    <a:pt x="384" y="169"/>
                    <a:pt x="383" y="170"/>
                    <a:pt x="382" y="172"/>
                  </a:cubicBezTo>
                  <a:cubicBezTo>
                    <a:pt x="376" y="168"/>
                    <a:pt x="370" y="165"/>
                    <a:pt x="363" y="162"/>
                  </a:cubicBezTo>
                  <a:cubicBezTo>
                    <a:pt x="356" y="159"/>
                    <a:pt x="332" y="161"/>
                    <a:pt x="365" y="190"/>
                  </a:cubicBezTo>
                  <a:cubicBezTo>
                    <a:pt x="397" y="218"/>
                    <a:pt x="377" y="250"/>
                    <a:pt x="360" y="255"/>
                  </a:cubicBezTo>
                  <a:cubicBezTo>
                    <a:pt x="342" y="260"/>
                    <a:pt x="331" y="299"/>
                    <a:pt x="361" y="290"/>
                  </a:cubicBezTo>
                  <a:cubicBezTo>
                    <a:pt x="385" y="283"/>
                    <a:pt x="441" y="232"/>
                    <a:pt x="405" y="190"/>
                  </a:cubicBezTo>
                  <a:cubicBezTo>
                    <a:pt x="423" y="165"/>
                    <a:pt x="441" y="94"/>
                    <a:pt x="364" y="9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5" name="Freeform 1372">
              <a:extLst>
                <a:ext uri="{FF2B5EF4-FFF2-40B4-BE49-F238E27FC236}">
                  <a16:creationId xmlns:a16="http://schemas.microsoft.com/office/drawing/2014/main" id="{EE6E4194-76BC-4E70-9BDB-B1AB0FA00A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4" y="2"/>
              <a:ext cx="910" cy="875"/>
            </a:xfrm>
            <a:custGeom>
              <a:avLst/>
              <a:gdLst>
                <a:gd name="T0" fmla="*/ 266 w 269"/>
                <a:gd name="T1" fmla="*/ 108 h 258"/>
                <a:gd name="T2" fmla="*/ 235 w 269"/>
                <a:gd name="T3" fmla="*/ 69 h 258"/>
                <a:gd name="T4" fmla="*/ 93 w 269"/>
                <a:gd name="T5" fmla="*/ 20 h 258"/>
                <a:gd name="T6" fmla="*/ 28 w 269"/>
                <a:gd name="T7" fmla="*/ 74 h 258"/>
                <a:gd name="T8" fmla="*/ 4 w 269"/>
                <a:gd name="T9" fmla="*/ 108 h 258"/>
                <a:gd name="T10" fmla="*/ 27 w 269"/>
                <a:gd name="T11" fmla="*/ 181 h 258"/>
                <a:gd name="T12" fmla="*/ 175 w 269"/>
                <a:gd name="T13" fmla="*/ 241 h 258"/>
                <a:gd name="T14" fmla="*/ 243 w 269"/>
                <a:gd name="T15" fmla="*/ 178 h 258"/>
                <a:gd name="T16" fmla="*/ 266 w 269"/>
                <a:gd name="T17" fmla="*/ 108 h 258"/>
                <a:gd name="T18" fmla="*/ 202 w 269"/>
                <a:gd name="T19" fmla="*/ 168 h 258"/>
                <a:gd name="T20" fmla="*/ 146 w 269"/>
                <a:gd name="T21" fmla="*/ 148 h 258"/>
                <a:gd name="T22" fmla="*/ 133 w 269"/>
                <a:gd name="T23" fmla="*/ 143 h 258"/>
                <a:gd name="T24" fmla="*/ 121 w 269"/>
                <a:gd name="T25" fmla="*/ 148 h 258"/>
                <a:gd name="T26" fmla="*/ 66 w 269"/>
                <a:gd name="T27" fmla="*/ 168 h 258"/>
                <a:gd name="T28" fmla="*/ 38 w 269"/>
                <a:gd name="T29" fmla="*/ 113 h 258"/>
                <a:gd name="T30" fmla="*/ 135 w 269"/>
                <a:gd name="T31" fmla="*/ 85 h 258"/>
                <a:gd name="T32" fmla="*/ 232 w 269"/>
                <a:gd name="T33" fmla="*/ 113 h 258"/>
                <a:gd name="T34" fmla="*/ 202 w 269"/>
                <a:gd name="T35" fmla="*/ 16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9" h="258">
                  <a:moveTo>
                    <a:pt x="266" y="108"/>
                  </a:moveTo>
                  <a:cubicBezTo>
                    <a:pt x="263" y="90"/>
                    <a:pt x="251" y="78"/>
                    <a:pt x="235" y="69"/>
                  </a:cubicBezTo>
                  <a:cubicBezTo>
                    <a:pt x="207" y="22"/>
                    <a:pt x="150" y="0"/>
                    <a:pt x="93" y="20"/>
                  </a:cubicBezTo>
                  <a:cubicBezTo>
                    <a:pt x="62" y="31"/>
                    <a:pt x="40" y="50"/>
                    <a:pt x="28" y="74"/>
                  </a:cubicBezTo>
                  <a:cubicBezTo>
                    <a:pt x="15" y="82"/>
                    <a:pt x="6" y="93"/>
                    <a:pt x="4" y="108"/>
                  </a:cubicBezTo>
                  <a:cubicBezTo>
                    <a:pt x="0" y="133"/>
                    <a:pt x="10" y="161"/>
                    <a:pt x="27" y="181"/>
                  </a:cubicBezTo>
                  <a:cubicBezTo>
                    <a:pt x="54" y="235"/>
                    <a:pt x="123" y="258"/>
                    <a:pt x="175" y="241"/>
                  </a:cubicBezTo>
                  <a:cubicBezTo>
                    <a:pt x="208" y="231"/>
                    <a:pt x="232" y="207"/>
                    <a:pt x="243" y="178"/>
                  </a:cubicBezTo>
                  <a:cubicBezTo>
                    <a:pt x="260" y="158"/>
                    <a:pt x="269" y="132"/>
                    <a:pt x="266" y="108"/>
                  </a:cubicBezTo>
                  <a:close/>
                  <a:moveTo>
                    <a:pt x="202" y="168"/>
                  </a:moveTo>
                  <a:cubicBezTo>
                    <a:pt x="181" y="178"/>
                    <a:pt x="160" y="163"/>
                    <a:pt x="146" y="148"/>
                  </a:cubicBezTo>
                  <a:cubicBezTo>
                    <a:pt x="143" y="145"/>
                    <a:pt x="138" y="143"/>
                    <a:pt x="133" y="143"/>
                  </a:cubicBezTo>
                  <a:cubicBezTo>
                    <a:pt x="129" y="143"/>
                    <a:pt x="124" y="145"/>
                    <a:pt x="121" y="148"/>
                  </a:cubicBezTo>
                  <a:cubicBezTo>
                    <a:pt x="107" y="163"/>
                    <a:pt x="86" y="178"/>
                    <a:pt x="66" y="168"/>
                  </a:cubicBezTo>
                  <a:cubicBezTo>
                    <a:pt x="47" y="159"/>
                    <a:pt x="35" y="131"/>
                    <a:pt x="38" y="113"/>
                  </a:cubicBezTo>
                  <a:cubicBezTo>
                    <a:pt x="40" y="96"/>
                    <a:pt x="88" y="86"/>
                    <a:pt x="135" y="85"/>
                  </a:cubicBezTo>
                  <a:cubicBezTo>
                    <a:pt x="182" y="86"/>
                    <a:pt x="229" y="96"/>
                    <a:pt x="232" y="113"/>
                  </a:cubicBezTo>
                  <a:cubicBezTo>
                    <a:pt x="234" y="131"/>
                    <a:pt x="222" y="158"/>
                    <a:pt x="202" y="16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Freeform 1373">
              <a:extLst>
                <a:ext uri="{FF2B5EF4-FFF2-40B4-BE49-F238E27FC236}">
                  <a16:creationId xmlns:a16="http://schemas.microsoft.com/office/drawing/2014/main" id="{C7CBDA1A-706F-43E1-86A2-5E9E3F86DD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78" y="-160"/>
              <a:ext cx="358" cy="359"/>
            </a:xfrm>
            <a:custGeom>
              <a:avLst/>
              <a:gdLst>
                <a:gd name="T0" fmla="*/ 53 w 106"/>
                <a:gd name="T1" fmla="*/ 106 h 106"/>
                <a:gd name="T2" fmla="*/ 0 w 106"/>
                <a:gd name="T3" fmla="*/ 53 h 106"/>
                <a:gd name="T4" fmla="*/ 53 w 106"/>
                <a:gd name="T5" fmla="*/ 0 h 106"/>
                <a:gd name="T6" fmla="*/ 106 w 106"/>
                <a:gd name="T7" fmla="*/ 53 h 106"/>
                <a:gd name="T8" fmla="*/ 53 w 106"/>
                <a:gd name="T9" fmla="*/ 106 h 106"/>
                <a:gd name="T10" fmla="*/ 53 w 106"/>
                <a:gd name="T11" fmla="*/ 35 h 106"/>
                <a:gd name="T12" fmla="*/ 35 w 106"/>
                <a:gd name="T13" fmla="*/ 53 h 106"/>
                <a:gd name="T14" fmla="*/ 53 w 106"/>
                <a:gd name="T15" fmla="*/ 71 h 106"/>
                <a:gd name="T16" fmla="*/ 71 w 106"/>
                <a:gd name="T17" fmla="*/ 53 h 106"/>
                <a:gd name="T18" fmla="*/ 53 w 106"/>
                <a:gd name="T19" fmla="*/ 3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6">
                  <a:moveTo>
                    <a:pt x="53" y="106"/>
                  </a:moveTo>
                  <a:cubicBezTo>
                    <a:pt x="24" y="106"/>
                    <a:pt x="0" y="82"/>
                    <a:pt x="0" y="53"/>
                  </a:cubicBezTo>
                  <a:cubicBezTo>
                    <a:pt x="0" y="24"/>
                    <a:pt x="24" y="0"/>
                    <a:pt x="53" y="0"/>
                  </a:cubicBezTo>
                  <a:cubicBezTo>
                    <a:pt x="82" y="0"/>
                    <a:pt x="106" y="24"/>
                    <a:pt x="106" y="53"/>
                  </a:cubicBezTo>
                  <a:cubicBezTo>
                    <a:pt x="106" y="82"/>
                    <a:pt x="82" y="106"/>
                    <a:pt x="53" y="106"/>
                  </a:cubicBezTo>
                  <a:close/>
                  <a:moveTo>
                    <a:pt x="53" y="35"/>
                  </a:moveTo>
                  <a:cubicBezTo>
                    <a:pt x="43" y="35"/>
                    <a:pt x="35" y="43"/>
                    <a:pt x="35" y="53"/>
                  </a:cubicBezTo>
                  <a:cubicBezTo>
                    <a:pt x="35" y="63"/>
                    <a:pt x="43" y="71"/>
                    <a:pt x="53" y="71"/>
                  </a:cubicBezTo>
                  <a:cubicBezTo>
                    <a:pt x="63" y="71"/>
                    <a:pt x="71" y="63"/>
                    <a:pt x="71" y="53"/>
                  </a:cubicBezTo>
                  <a:cubicBezTo>
                    <a:pt x="71" y="43"/>
                    <a:pt x="63" y="35"/>
                    <a:pt x="53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7" name="Freeform 1374">
              <a:extLst>
                <a:ext uri="{FF2B5EF4-FFF2-40B4-BE49-F238E27FC236}">
                  <a16:creationId xmlns:a16="http://schemas.microsoft.com/office/drawing/2014/main" id="{4690C8A9-44C3-4A4E-AC72-89EE17F364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8" y="558"/>
              <a:ext cx="369" cy="678"/>
            </a:xfrm>
            <a:custGeom>
              <a:avLst/>
              <a:gdLst>
                <a:gd name="T0" fmla="*/ 56 w 109"/>
                <a:gd name="T1" fmla="*/ 66 h 200"/>
                <a:gd name="T2" fmla="*/ 54 w 109"/>
                <a:gd name="T3" fmla="*/ 66 h 200"/>
                <a:gd name="T4" fmla="*/ 71 w 109"/>
                <a:gd name="T5" fmla="*/ 34 h 200"/>
                <a:gd name="T6" fmla="*/ 46 w 109"/>
                <a:gd name="T7" fmla="*/ 26 h 200"/>
                <a:gd name="T8" fmla="*/ 23 w 109"/>
                <a:gd name="T9" fmla="*/ 77 h 200"/>
                <a:gd name="T10" fmla="*/ 4 w 109"/>
                <a:gd name="T11" fmla="*/ 118 h 200"/>
                <a:gd name="T12" fmla="*/ 6 w 109"/>
                <a:gd name="T13" fmla="*/ 134 h 200"/>
                <a:gd name="T14" fmla="*/ 1 w 109"/>
                <a:gd name="T15" fmla="*/ 159 h 200"/>
                <a:gd name="T16" fmla="*/ 20 w 109"/>
                <a:gd name="T17" fmla="*/ 182 h 200"/>
                <a:gd name="T18" fmla="*/ 29 w 109"/>
                <a:gd name="T19" fmla="*/ 163 h 200"/>
                <a:gd name="T20" fmla="*/ 56 w 109"/>
                <a:gd name="T21" fmla="*/ 171 h 200"/>
                <a:gd name="T22" fmla="*/ 109 w 109"/>
                <a:gd name="T23" fmla="*/ 118 h 200"/>
                <a:gd name="T24" fmla="*/ 56 w 109"/>
                <a:gd name="T25" fmla="*/ 66 h 200"/>
                <a:gd name="T26" fmla="*/ 56 w 109"/>
                <a:gd name="T27" fmla="*/ 136 h 200"/>
                <a:gd name="T28" fmla="*/ 38 w 109"/>
                <a:gd name="T29" fmla="*/ 118 h 200"/>
                <a:gd name="T30" fmla="*/ 56 w 109"/>
                <a:gd name="T31" fmla="*/ 100 h 200"/>
                <a:gd name="T32" fmla="*/ 74 w 109"/>
                <a:gd name="T33" fmla="*/ 118 h 200"/>
                <a:gd name="T34" fmla="*/ 56 w 109"/>
                <a:gd name="T35" fmla="*/ 13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9" h="200">
                  <a:moveTo>
                    <a:pt x="56" y="66"/>
                  </a:moveTo>
                  <a:cubicBezTo>
                    <a:pt x="55" y="66"/>
                    <a:pt x="55" y="66"/>
                    <a:pt x="54" y="66"/>
                  </a:cubicBezTo>
                  <a:cubicBezTo>
                    <a:pt x="58" y="55"/>
                    <a:pt x="64" y="45"/>
                    <a:pt x="71" y="34"/>
                  </a:cubicBezTo>
                  <a:cubicBezTo>
                    <a:pt x="95" y="0"/>
                    <a:pt x="57" y="8"/>
                    <a:pt x="46" y="26"/>
                  </a:cubicBezTo>
                  <a:cubicBezTo>
                    <a:pt x="39" y="36"/>
                    <a:pt x="31" y="56"/>
                    <a:pt x="23" y="77"/>
                  </a:cubicBezTo>
                  <a:cubicBezTo>
                    <a:pt x="11" y="87"/>
                    <a:pt x="4" y="102"/>
                    <a:pt x="4" y="118"/>
                  </a:cubicBezTo>
                  <a:cubicBezTo>
                    <a:pt x="4" y="124"/>
                    <a:pt x="5" y="129"/>
                    <a:pt x="6" y="134"/>
                  </a:cubicBezTo>
                  <a:cubicBezTo>
                    <a:pt x="4" y="144"/>
                    <a:pt x="2" y="152"/>
                    <a:pt x="1" y="159"/>
                  </a:cubicBezTo>
                  <a:cubicBezTo>
                    <a:pt x="0" y="167"/>
                    <a:pt x="8" y="200"/>
                    <a:pt x="20" y="182"/>
                  </a:cubicBezTo>
                  <a:cubicBezTo>
                    <a:pt x="24" y="176"/>
                    <a:pt x="26" y="170"/>
                    <a:pt x="29" y="163"/>
                  </a:cubicBezTo>
                  <a:cubicBezTo>
                    <a:pt x="37" y="168"/>
                    <a:pt x="46" y="171"/>
                    <a:pt x="56" y="171"/>
                  </a:cubicBezTo>
                  <a:cubicBezTo>
                    <a:pt x="85" y="171"/>
                    <a:pt x="109" y="147"/>
                    <a:pt x="109" y="118"/>
                  </a:cubicBezTo>
                  <a:cubicBezTo>
                    <a:pt x="109" y="89"/>
                    <a:pt x="85" y="66"/>
                    <a:pt x="56" y="66"/>
                  </a:cubicBezTo>
                  <a:close/>
                  <a:moveTo>
                    <a:pt x="56" y="136"/>
                  </a:moveTo>
                  <a:cubicBezTo>
                    <a:pt x="46" y="136"/>
                    <a:pt x="38" y="128"/>
                    <a:pt x="38" y="118"/>
                  </a:cubicBezTo>
                  <a:cubicBezTo>
                    <a:pt x="38" y="108"/>
                    <a:pt x="46" y="100"/>
                    <a:pt x="56" y="100"/>
                  </a:cubicBezTo>
                  <a:cubicBezTo>
                    <a:pt x="66" y="100"/>
                    <a:pt x="74" y="108"/>
                    <a:pt x="74" y="118"/>
                  </a:cubicBezTo>
                  <a:cubicBezTo>
                    <a:pt x="74" y="128"/>
                    <a:pt x="66" y="136"/>
                    <a:pt x="56" y="1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Freeform 1375">
              <a:extLst>
                <a:ext uri="{FF2B5EF4-FFF2-40B4-BE49-F238E27FC236}">
                  <a16:creationId xmlns:a16="http://schemas.microsoft.com/office/drawing/2014/main" id="{BFA6CB00-19DE-4CBE-A0C4-5C09F9E865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30" y="67"/>
              <a:ext cx="356" cy="738"/>
            </a:xfrm>
            <a:custGeom>
              <a:avLst/>
              <a:gdLst>
                <a:gd name="T0" fmla="*/ 52 w 105"/>
                <a:gd name="T1" fmla="*/ 0 h 218"/>
                <a:gd name="T2" fmla="*/ 0 w 105"/>
                <a:gd name="T3" fmla="*/ 53 h 218"/>
                <a:gd name="T4" fmla="*/ 26 w 105"/>
                <a:gd name="T5" fmla="*/ 99 h 218"/>
                <a:gd name="T6" fmla="*/ 17 w 105"/>
                <a:gd name="T7" fmla="*/ 188 h 218"/>
                <a:gd name="T8" fmla="*/ 34 w 105"/>
                <a:gd name="T9" fmla="*/ 204 h 218"/>
                <a:gd name="T10" fmla="*/ 48 w 105"/>
                <a:gd name="T11" fmla="*/ 106 h 218"/>
                <a:gd name="T12" fmla="*/ 52 w 105"/>
                <a:gd name="T13" fmla="*/ 106 h 218"/>
                <a:gd name="T14" fmla="*/ 105 w 105"/>
                <a:gd name="T15" fmla="*/ 53 h 218"/>
                <a:gd name="T16" fmla="*/ 52 w 105"/>
                <a:gd name="T17" fmla="*/ 0 h 218"/>
                <a:gd name="T18" fmla="*/ 37 w 105"/>
                <a:gd name="T19" fmla="*/ 62 h 218"/>
                <a:gd name="T20" fmla="*/ 34 w 105"/>
                <a:gd name="T21" fmla="*/ 53 h 218"/>
                <a:gd name="T22" fmla="*/ 52 w 105"/>
                <a:gd name="T23" fmla="*/ 35 h 218"/>
                <a:gd name="T24" fmla="*/ 61 w 105"/>
                <a:gd name="T25" fmla="*/ 37 h 218"/>
                <a:gd name="T26" fmla="*/ 70 w 105"/>
                <a:gd name="T27" fmla="*/ 51 h 218"/>
                <a:gd name="T28" fmla="*/ 71 w 105"/>
                <a:gd name="T29" fmla="*/ 53 h 218"/>
                <a:gd name="T30" fmla="*/ 62 w 105"/>
                <a:gd name="T31" fmla="*/ 68 h 218"/>
                <a:gd name="T32" fmla="*/ 52 w 105"/>
                <a:gd name="T33" fmla="*/ 71 h 218"/>
                <a:gd name="T34" fmla="*/ 37 w 105"/>
                <a:gd name="T35" fmla="*/ 6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218">
                  <a:moveTo>
                    <a:pt x="52" y="0"/>
                  </a:moveTo>
                  <a:cubicBezTo>
                    <a:pt x="23" y="0"/>
                    <a:pt x="0" y="24"/>
                    <a:pt x="0" y="53"/>
                  </a:cubicBezTo>
                  <a:cubicBezTo>
                    <a:pt x="0" y="73"/>
                    <a:pt x="10" y="90"/>
                    <a:pt x="26" y="99"/>
                  </a:cubicBezTo>
                  <a:cubicBezTo>
                    <a:pt x="20" y="129"/>
                    <a:pt x="17" y="166"/>
                    <a:pt x="17" y="188"/>
                  </a:cubicBezTo>
                  <a:cubicBezTo>
                    <a:pt x="16" y="203"/>
                    <a:pt x="28" y="218"/>
                    <a:pt x="34" y="204"/>
                  </a:cubicBezTo>
                  <a:cubicBezTo>
                    <a:pt x="45" y="176"/>
                    <a:pt x="37" y="147"/>
                    <a:pt x="48" y="106"/>
                  </a:cubicBezTo>
                  <a:cubicBezTo>
                    <a:pt x="49" y="106"/>
                    <a:pt x="51" y="106"/>
                    <a:pt x="52" y="106"/>
                  </a:cubicBezTo>
                  <a:cubicBezTo>
                    <a:pt x="82" y="106"/>
                    <a:pt x="105" y="82"/>
                    <a:pt x="105" y="53"/>
                  </a:cubicBezTo>
                  <a:cubicBezTo>
                    <a:pt x="105" y="24"/>
                    <a:pt x="82" y="0"/>
                    <a:pt x="52" y="0"/>
                  </a:cubicBezTo>
                  <a:close/>
                  <a:moveTo>
                    <a:pt x="37" y="62"/>
                  </a:moveTo>
                  <a:cubicBezTo>
                    <a:pt x="35" y="59"/>
                    <a:pt x="34" y="56"/>
                    <a:pt x="34" y="53"/>
                  </a:cubicBezTo>
                  <a:cubicBezTo>
                    <a:pt x="34" y="43"/>
                    <a:pt x="42" y="35"/>
                    <a:pt x="52" y="35"/>
                  </a:cubicBezTo>
                  <a:cubicBezTo>
                    <a:pt x="55" y="35"/>
                    <a:pt x="58" y="36"/>
                    <a:pt x="61" y="37"/>
                  </a:cubicBezTo>
                  <a:cubicBezTo>
                    <a:pt x="66" y="40"/>
                    <a:pt x="69" y="45"/>
                    <a:pt x="70" y="51"/>
                  </a:cubicBezTo>
                  <a:cubicBezTo>
                    <a:pt x="70" y="52"/>
                    <a:pt x="71" y="52"/>
                    <a:pt x="71" y="53"/>
                  </a:cubicBezTo>
                  <a:cubicBezTo>
                    <a:pt x="71" y="60"/>
                    <a:pt x="67" y="65"/>
                    <a:pt x="62" y="68"/>
                  </a:cubicBezTo>
                  <a:cubicBezTo>
                    <a:pt x="59" y="70"/>
                    <a:pt x="56" y="71"/>
                    <a:pt x="52" y="71"/>
                  </a:cubicBezTo>
                  <a:cubicBezTo>
                    <a:pt x="45" y="71"/>
                    <a:pt x="40" y="67"/>
                    <a:pt x="37" y="6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" name="Freeform 1376">
              <a:extLst>
                <a:ext uri="{FF2B5EF4-FFF2-40B4-BE49-F238E27FC236}">
                  <a16:creationId xmlns:a16="http://schemas.microsoft.com/office/drawing/2014/main" id="{E4E728AD-B63D-4FBD-8F98-D99B270E90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4" y="-279"/>
              <a:ext cx="4110" cy="4306"/>
            </a:xfrm>
            <a:custGeom>
              <a:avLst/>
              <a:gdLst>
                <a:gd name="T0" fmla="*/ 728 w 1215"/>
                <a:gd name="T1" fmla="*/ 718 h 1271"/>
                <a:gd name="T2" fmla="*/ 841 w 1215"/>
                <a:gd name="T3" fmla="*/ 668 h 1271"/>
                <a:gd name="T4" fmla="*/ 884 w 1215"/>
                <a:gd name="T5" fmla="*/ 679 h 1271"/>
                <a:gd name="T6" fmla="*/ 999 w 1215"/>
                <a:gd name="T7" fmla="*/ 688 h 1271"/>
                <a:gd name="T8" fmla="*/ 1103 w 1215"/>
                <a:gd name="T9" fmla="*/ 688 h 1271"/>
                <a:gd name="T10" fmla="*/ 1118 w 1215"/>
                <a:gd name="T11" fmla="*/ 662 h 1271"/>
                <a:gd name="T12" fmla="*/ 1059 w 1215"/>
                <a:gd name="T13" fmla="*/ 512 h 1271"/>
                <a:gd name="T14" fmla="*/ 1095 w 1215"/>
                <a:gd name="T15" fmla="*/ 494 h 1271"/>
                <a:gd name="T16" fmla="*/ 922 w 1215"/>
                <a:gd name="T17" fmla="*/ 477 h 1271"/>
                <a:gd name="T18" fmla="*/ 922 w 1215"/>
                <a:gd name="T19" fmla="*/ 512 h 1271"/>
                <a:gd name="T20" fmla="*/ 943 w 1215"/>
                <a:gd name="T21" fmla="*/ 533 h 1271"/>
                <a:gd name="T22" fmla="*/ 881 w 1215"/>
                <a:gd name="T23" fmla="*/ 546 h 1271"/>
                <a:gd name="T24" fmla="*/ 584 w 1215"/>
                <a:gd name="T25" fmla="*/ 345 h 1271"/>
                <a:gd name="T26" fmla="*/ 486 w 1215"/>
                <a:gd name="T27" fmla="*/ 349 h 1271"/>
                <a:gd name="T28" fmla="*/ 306 w 1215"/>
                <a:gd name="T29" fmla="*/ 113 h 1271"/>
                <a:gd name="T30" fmla="*/ 284 w 1215"/>
                <a:gd name="T31" fmla="*/ 98 h 1271"/>
                <a:gd name="T32" fmla="*/ 194 w 1215"/>
                <a:gd name="T33" fmla="*/ 168 h 1271"/>
                <a:gd name="T34" fmla="*/ 181 w 1215"/>
                <a:gd name="T35" fmla="*/ 189 h 1271"/>
                <a:gd name="T36" fmla="*/ 366 w 1215"/>
                <a:gd name="T37" fmla="*/ 601 h 1271"/>
                <a:gd name="T38" fmla="*/ 52 w 1215"/>
                <a:gd name="T39" fmla="*/ 718 h 1271"/>
                <a:gd name="T40" fmla="*/ 52 w 1215"/>
                <a:gd name="T41" fmla="*/ 822 h 1271"/>
                <a:gd name="T42" fmla="*/ 111 w 1215"/>
                <a:gd name="T43" fmla="*/ 1270 h 1271"/>
                <a:gd name="T44" fmla="*/ 215 w 1215"/>
                <a:gd name="T45" fmla="*/ 822 h 1271"/>
                <a:gd name="T46" fmla="*/ 346 w 1215"/>
                <a:gd name="T47" fmla="*/ 1063 h 1271"/>
                <a:gd name="T48" fmla="*/ 363 w 1215"/>
                <a:gd name="T49" fmla="*/ 1081 h 1271"/>
                <a:gd name="T50" fmla="*/ 406 w 1215"/>
                <a:gd name="T51" fmla="*/ 1197 h 1271"/>
                <a:gd name="T52" fmla="*/ 382 w 1215"/>
                <a:gd name="T53" fmla="*/ 1268 h 1271"/>
                <a:gd name="T54" fmla="*/ 520 w 1215"/>
                <a:gd name="T55" fmla="*/ 1081 h 1271"/>
                <a:gd name="T56" fmla="*/ 589 w 1215"/>
                <a:gd name="T57" fmla="*/ 1242 h 1271"/>
                <a:gd name="T58" fmla="*/ 751 w 1215"/>
                <a:gd name="T59" fmla="*/ 1225 h 1271"/>
                <a:gd name="T60" fmla="*/ 671 w 1215"/>
                <a:gd name="T61" fmla="*/ 1081 h 1271"/>
                <a:gd name="T62" fmla="*/ 763 w 1215"/>
                <a:gd name="T63" fmla="*/ 1075 h 1271"/>
                <a:gd name="T64" fmla="*/ 740 w 1215"/>
                <a:gd name="T65" fmla="*/ 822 h 1271"/>
                <a:gd name="T66" fmla="*/ 1016 w 1215"/>
                <a:gd name="T67" fmla="*/ 1270 h 1271"/>
                <a:gd name="T68" fmla="*/ 1120 w 1215"/>
                <a:gd name="T69" fmla="*/ 822 h 1271"/>
                <a:gd name="T70" fmla="*/ 1215 w 1215"/>
                <a:gd name="T71" fmla="*/ 770 h 1271"/>
                <a:gd name="T72" fmla="*/ 978 w 1215"/>
                <a:gd name="T73" fmla="*/ 563 h 1271"/>
                <a:gd name="T74" fmla="*/ 1025 w 1215"/>
                <a:gd name="T75" fmla="*/ 512 h 1271"/>
                <a:gd name="T76" fmla="*/ 1025 w 1215"/>
                <a:gd name="T77" fmla="*/ 565 h 1271"/>
                <a:gd name="T78" fmla="*/ 978 w 1215"/>
                <a:gd name="T79" fmla="*/ 563 h 1271"/>
                <a:gd name="T80" fmla="*/ 755 w 1215"/>
                <a:gd name="T81" fmla="*/ 479 h 1271"/>
                <a:gd name="T82" fmla="*/ 930 w 1215"/>
                <a:gd name="T83" fmla="*/ 574 h 1271"/>
                <a:gd name="T84" fmla="*/ 841 w 1215"/>
                <a:gd name="T85" fmla="*/ 634 h 1271"/>
                <a:gd name="T86" fmla="*/ 684 w 1215"/>
                <a:gd name="T87" fmla="*/ 497 h 1271"/>
                <a:gd name="T88" fmla="*/ 693 w 1215"/>
                <a:gd name="T89" fmla="*/ 718 h 1271"/>
                <a:gd name="T90" fmla="*/ 563 w 1215"/>
                <a:gd name="T91" fmla="*/ 380 h 1271"/>
                <a:gd name="T92" fmla="*/ 365 w 1215"/>
                <a:gd name="T93" fmla="*/ 470 h 1271"/>
                <a:gd name="T94" fmla="*/ 275 w 1215"/>
                <a:gd name="T95" fmla="*/ 147 h 1271"/>
                <a:gd name="T96" fmla="*/ 486 w 1215"/>
                <a:gd name="T97" fmla="*/ 384 h 1271"/>
                <a:gd name="T98" fmla="*/ 528 w 1215"/>
                <a:gd name="T99" fmla="*/ 718 h 1271"/>
                <a:gd name="T100" fmla="*/ 401 w 1215"/>
                <a:gd name="T101" fmla="*/ 601 h 1271"/>
                <a:gd name="T102" fmla="*/ 382 w 1215"/>
                <a:gd name="T103" fmla="*/ 1046 h 1271"/>
                <a:gd name="T104" fmla="*/ 528 w 1215"/>
                <a:gd name="T105" fmla="*/ 822 h 1271"/>
                <a:gd name="T106" fmla="*/ 382 w 1215"/>
                <a:gd name="T107" fmla="*/ 1046 h 1271"/>
                <a:gd name="T108" fmla="*/ 563 w 1215"/>
                <a:gd name="T109" fmla="*/ 822 h 1271"/>
                <a:gd name="T110" fmla="*/ 731 w 1215"/>
                <a:gd name="T111" fmla="*/ 1046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15" h="1271">
                  <a:moveTo>
                    <a:pt x="1163" y="718"/>
                  </a:moveTo>
                  <a:lnTo>
                    <a:pt x="728" y="718"/>
                  </a:lnTo>
                  <a:lnTo>
                    <a:pt x="716" y="615"/>
                  </a:lnTo>
                  <a:cubicBezTo>
                    <a:pt x="755" y="660"/>
                    <a:pt x="807" y="668"/>
                    <a:pt x="841" y="668"/>
                  </a:cubicBezTo>
                  <a:cubicBezTo>
                    <a:pt x="856" y="668"/>
                    <a:pt x="871" y="667"/>
                    <a:pt x="883" y="664"/>
                  </a:cubicBezTo>
                  <a:cubicBezTo>
                    <a:pt x="881" y="669"/>
                    <a:pt x="882" y="674"/>
                    <a:pt x="884" y="679"/>
                  </a:cubicBezTo>
                  <a:cubicBezTo>
                    <a:pt x="887" y="684"/>
                    <a:pt x="893" y="688"/>
                    <a:pt x="899" y="688"/>
                  </a:cubicBezTo>
                  <a:lnTo>
                    <a:pt x="999" y="688"/>
                  </a:lnTo>
                  <a:lnTo>
                    <a:pt x="1004" y="688"/>
                  </a:lnTo>
                  <a:lnTo>
                    <a:pt x="1103" y="688"/>
                  </a:lnTo>
                  <a:cubicBezTo>
                    <a:pt x="1109" y="688"/>
                    <a:pt x="1115" y="684"/>
                    <a:pt x="1118" y="679"/>
                  </a:cubicBezTo>
                  <a:cubicBezTo>
                    <a:pt x="1121" y="674"/>
                    <a:pt x="1121" y="667"/>
                    <a:pt x="1118" y="662"/>
                  </a:cubicBezTo>
                  <a:lnTo>
                    <a:pt x="1059" y="558"/>
                  </a:lnTo>
                  <a:lnTo>
                    <a:pt x="1059" y="512"/>
                  </a:lnTo>
                  <a:lnTo>
                    <a:pt x="1077" y="512"/>
                  </a:lnTo>
                  <a:cubicBezTo>
                    <a:pt x="1087" y="512"/>
                    <a:pt x="1095" y="504"/>
                    <a:pt x="1095" y="494"/>
                  </a:cubicBezTo>
                  <a:cubicBezTo>
                    <a:pt x="1095" y="485"/>
                    <a:pt x="1087" y="477"/>
                    <a:pt x="1077" y="477"/>
                  </a:cubicBezTo>
                  <a:lnTo>
                    <a:pt x="922" y="477"/>
                  </a:lnTo>
                  <a:cubicBezTo>
                    <a:pt x="913" y="477"/>
                    <a:pt x="905" y="485"/>
                    <a:pt x="905" y="494"/>
                  </a:cubicBezTo>
                  <a:cubicBezTo>
                    <a:pt x="905" y="504"/>
                    <a:pt x="913" y="512"/>
                    <a:pt x="922" y="512"/>
                  </a:cubicBezTo>
                  <a:lnTo>
                    <a:pt x="943" y="512"/>
                  </a:lnTo>
                  <a:lnTo>
                    <a:pt x="943" y="533"/>
                  </a:lnTo>
                  <a:cubicBezTo>
                    <a:pt x="943" y="533"/>
                    <a:pt x="943" y="533"/>
                    <a:pt x="943" y="533"/>
                  </a:cubicBezTo>
                  <a:cubicBezTo>
                    <a:pt x="933" y="537"/>
                    <a:pt x="908" y="546"/>
                    <a:pt x="881" y="546"/>
                  </a:cubicBezTo>
                  <a:cubicBezTo>
                    <a:pt x="833" y="546"/>
                    <a:pt x="803" y="521"/>
                    <a:pt x="789" y="470"/>
                  </a:cubicBezTo>
                  <a:cubicBezTo>
                    <a:pt x="765" y="384"/>
                    <a:pt x="667" y="349"/>
                    <a:pt x="584" y="345"/>
                  </a:cubicBezTo>
                  <a:cubicBezTo>
                    <a:pt x="572" y="345"/>
                    <a:pt x="556" y="346"/>
                    <a:pt x="538" y="347"/>
                  </a:cubicBezTo>
                  <a:cubicBezTo>
                    <a:pt x="522" y="348"/>
                    <a:pt x="503" y="349"/>
                    <a:pt x="486" y="349"/>
                  </a:cubicBezTo>
                  <a:cubicBezTo>
                    <a:pt x="451" y="349"/>
                    <a:pt x="439" y="344"/>
                    <a:pt x="434" y="341"/>
                  </a:cubicBezTo>
                  <a:cubicBezTo>
                    <a:pt x="380" y="297"/>
                    <a:pt x="319" y="247"/>
                    <a:pt x="306" y="113"/>
                  </a:cubicBezTo>
                  <a:cubicBezTo>
                    <a:pt x="305" y="106"/>
                    <a:pt x="301" y="101"/>
                    <a:pt x="295" y="98"/>
                  </a:cubicBezTo>
                  <a:cubicBezTo>
                    <a:pt x="292" y="97"/>
                    <a:pt x="288" y="97"/>
                    <a:pt x="284" y="98"/>
                  </a:cubicBezTo>
                  <a:cubicBezTo>
                    <a:pt x="275" y="15"/>
                    <a:pt x="181" y="0"/>
                    <a:pt x="188" y="87"/>
                  </a:cubicBezTo>
                  <a:cubicBezTo>
                    <a:pt x="195" y="156"/>
                    <a:pt x="192" y="162"/>
                    <a:pt x="194" y="168"/>
                  </a:cubicBezTo>
                  <a:lnTo>
                    <a:pt x="188" y="173"/>
                  </a:lnTo>
                  <a:cubicBezTo>
                    <a:pt x="183" y="177"/>
                    <a:pt x="181" y="183"/>
                    <a:pt x="181" y="189"/>
                  </a:cubicBezTo>
                  <a:cubicBezTo>
                    <a:pt x="182" y="196"/>
                    <a:pt x="203" y="358"/>
                    <a:pt x="340" y="494"/>
                  </a:cubicBezTo>
                  <a:cubicBezTo>
                    <a:pt x="352" y="506"/>
                    <a:pt x="366" y="534"/>
                    <a:pt x="366" y="601"/>
                  </a:cubicBezTo>
                  <a:cubicBezTo>
                    <a:pt x="366" y="626"/>
                    <a:pt x="364" y="673"/>
                    <a:pt x="362" y="718"/>
                  </a:cubicBezTo>
                  <a:lnTo>
                    <a:pt x="52" y="718"/>
                  </a:lnTo>
                  <a:cubicBezTo>
                    <a:pt x="23" y="718"/>
                    <a:pt x="0" y="742"/>
                    <a:pt x="0" y="770"/>
                  </a:cubicBezTo>
                  <a:cubicBezTo>
                    <a:pt x="0" y="799"/>
                    <a:pt x="23" y="822"/>
                    <a:pt x="52" y="822"/>
                  </a:cubicBezTo>
                  <a:lnTo>
                    <a:pt x="111" y="822"/>
                  </a:lnTo>
                  <a:lnTo>
                    <a:pt x="111" y="1270"/>
                  </a:lnTo>
                  <a:lnTo>
                    <a:pt x="215" y="1270"/>
                  </a:lnTo>
                  <a:lnTo>
                    <a:pt x="215" y="822"/>
                  </a:lnTo>
                  <a:lnTo>
                    <a:pt x="358" y="822"/>
                  </a:lnTo>
                  <a:cubicBezTo>
                    <a:pt x="353" y="942"/>
                    <a:pt x="346" y="1061"/>
                    <a:pt x="346" y="1063"/>
                  </a:cubicBezTo>
                  <a:cubicBezTo>
                    <a:pt x="346" y="1067"/>
                    <a:pt x="348" y="1072"/>
                    <a:pt x="351" y="1075"/>
                  </a:cubicBezTo>
                  <a:cubicBezTo>
                    <a:pt x="354" y="1079"/>
                    <a:pt x="359" y="1081"/>
                    <a:pt x="363" y="1081"/>
                  </a:cubicBezTo>
                  <a:lnTo>
                    <a:pt x="424" y="1081"/>
                  </a:lnTo>
                  <a:cubicBezTo>
                    <a:pt x="425" y="1180"/>
                    <a:pt x="428" y="1184"/>
                    <a:pt x="406" y="1197"/>
                  </a:cubicBezTo>
                  <a:cubicBezTo>
                    <a:pt x="382" y="1212"/>
                    <a:pt x="355" y="1211"/>
                    <a:pt x="344" y="1225"/>
                  </a:cubicBezTo>
                  <a:cubicBezTo>
                    <a:pt x="336" y="1237"/>
                    <a:pt x="342" y="1265"/>
                    <a:pt x="382" y="1268"/>
                  </a:cubicBezTo>
                  <a:cubicBezTo>
                    <a:pt x="422" y="1271"/>
                    <a:pt x="489" y="1270"/>
                    <a:pt x="506" y="1242"/>
                  </a:cubicBezTo>
                  <a:cubicBezTo>
                    <a:pt x="521" y="1216"/>
                    <a:pt x="521" y="1124"/>
                    <a:pt x="520" y="1081"/>
                  </a:cubicBezTo>
                  <a:lnTo>
                    <a:pt x="575" y="1081"/>
                  </a:lnTo>
                  <a:cubicBezTo>
                    <a:pt x="574" y="1124"/>
                    <a:pt x="574" y="1216"/>
                    <a:pt x="589" y="1242"/>
                  </a:cubicBezTo>
                  <a:cubicBezTo>
                    <a:pt x="606" y="1270"/>
                    <a:pt x="673" y="1271"/>
                    <a:pt x="713" y="1268"/>
                  </a:cubicBezTo>
                  <a:cubicBezTo>
                    <a:pt x="753" y="1265"/>
                    <a:pt x="759" y="1237"/>
                    <a:pt x="751" y="1225"/>
                  </a:cubicBezTo>
                  <a:cubicBezTo>
                    <a:pt x="740" y="1211"/>
                    <a:pt x="713" y="1212"/>
                    <a:pt x="689" y="1197"/>
                  </a:cubicBezTo>
                  <a:cubicBezTo>
                    <a:pt x="667" y="1184"/>
                    <a:pt x="670" y="1180"/>
                    <a:pt x="671" y="1081"/>
                  </a:cubicBezTo>
                  <a:lnTo>
                    <a:pt x="750" y="1081"/>
                  </a:lnTo>
                  <a:cubicBezTo>
                    <a:pt x="755" y="1081"/>
                    <a:pt x="760" y="1079"/>
                    <a:pt x="763" y="1075"/>
                  </a:cubicBezTo>
                  <a:cubicBezTo>
                    <a:pt x="766" y="1071"/>
                    <a:pt x="768" y="1067"/>
                    <a:pt x="767" y="1062"/>
                  </a:cubicBezTo>
                  <a:lnTo>
                    <a:pt x="740" y="822"/>
                  </a:lnTo>
                  <a:lnTo>
                    <a:pt x="1016" y="822"/>
                  </a:lnTo>
                  <a:lnTo>
                    <a:pt x="1016" y="1270"/>
                  </a:lnTo>
                  <a:lnTo>
                    <a:pt x="1120" y="1270"/>
                  </a:lnTo>
                  <a:lnTo>
                    <a:pt x="1120" y="822"/>
                  </a:lnTo>
                  <a:lnTo>
                    <a:pt x="1163" y="822"/>
                  </a:lnTo>
                  <a:cubicBezTo>
                    <a:pt x="1192" y="822"/>
                    <a:pt x="1215" y="799"/>
                    <a:pt x="1215" y="770"/>
                  </a:cubicBezTo>
                  <a:cubicBezTo>
                    <a:pt x="1215" y="742"/>
                    <a:pt x="1192" y="718"/>
                    <a:pt x="1163" y="718"/>
                  </a:cubicBezTo>
                  <a:close/>
                  <a:moveTo>
                    <a:pt x="978" y="563"/>
                  </a:moveTo>
                  <a:lnTo>
                    <a:pt x="978" y="512"/>
                  </a:lnTo>
                  <a:lnTo>
                    <a:pt x="1025" y="512"/>
                  </a:lnTo>
                  <a:lnTo>
                    <a:pt x="1025" y="563"/>
                  </a:lnTo>
                  <a:cubicBezTo>
                    <a:pt x="1025" y="564"/>
                    <a:pt x="1025" y="564"/>
                    <a:pt x="1025" y="565"/>
                  </a:cubicBezTo>
                  <a:lnTo>
                    <a:pt x="978" y="565"/>
                  </a:lnTo>
                  <a:cubicBezTo>
                    <a:pt x="978" y="564"/>
                    <a:pt x="978" y="564"/>
                    <a:pt x="978" y="563"/>
                  </a:cubicBezTo>
                  <a:close/>
                  <a:moveTo>
                    <a:pt x="582" y="380"/>
                  </a:moveTo>
                  <a:cubicBezTo>
                    <a:pt x="607" y="381"/>
                    <a:pt x="731" y="391"/>
                    <a:pt x="755" y="479"/>
                  </a:cubicBezTo>
                  <a:cubicBezTo>
                    <a:pt x="774" y="545"/>
                    <a:pt x="818" y="580"/>
                    <a:pt x="881" y="580"/>
                  </a:cubicBezTo>
                  <a:cubicBezTo>
                    <a:pt x="899" y="580"/>
                    <a:pt x="916" y="577"/>
                    <a:pt x="930" y="574"/>
                  </a:cubicBezTo>
                  <a:cubicBezTo>
                    <a:pt x="924" y="588"/>
                    <a:pt x="915" y="606"/>
                    <a:pt x="906" y="623"/>
                  </a:cubicBezTo>
                  <a:cubicBezTo>
                    <a:pt x="895" y="627"/>
                    <a:pt x="870" y="634"/>
                    <a:pt x="841" y="634"/>
                  </a:cubicBezTo>
                  <a:cubicBezTo>
                    <a:pt x="768" y="634"/>
                    <a:pt x="722" y="592"/>
                    <a:pt x="704" y="510"/>
                  </a:cubicBezTo>
                  <a:cubicBezTo>
                    <a:pt x="702" y="501"/>
                    <a:pt x="693" y="495"/>
                    <a:pt x="684" y="497"/>
                  </a:cubicBezTo>
                  <a:cubicBezTo>
                    <a:pt x="675" y="498"/>
                    <a:pt x="669" y="507"/>
                    <a:pt x="670" y="516"/>
                  </a:cubicBezTo>
                  <a:lnTo>
                    <a:pt x="693" y="718"/>
                  </a:lnTo>
                  <a:lnTo>
                    <a:pt x="563" y="718"/>
                  </a:lnTo>
                  <a:lnTo>
                    <a:pt x="563" y="380"/>
                  </a:lnTo>
                  <a:cubicBezTo>
                    <a:pt x="571" y="380"/>
                    <a:pt x="577" y="380"/>
                    <a:pt x="582" y="380"/>
                  </a:cubicBezTo>
                  <a:close/>
                  <a:moveTo>
                    <a:pt x="365" y="470"/>
                  </a:moveTo>
                  <a:cubicBezTo>
                    <a:pt x="255" y="360"/>
                    <a:pt x="224" y="229"/>
                    <a:pt x="217" y="194"/>
                  </a:cubicBezTo>
                  <a:lnTo>
                    <a:pt x="275" y="147"/>
                  </a:lnTo>
                  <a:cubicBezTo>
                    <a:pt x="296" y="273"/>
                    <a:pt x="360" y="325"/>
                    <a:pt x="413" y="367"/>
                  </a:cubicBezTo>
                  <a:cubicBezTo>
                    <a:pt x="427" y="379"/>
                    <a:pt x="449" y="384"/>
                    <a:pt x="486" y="384"/>
                  </a:cubicBezTo>
                  <a:cubicBezTo>
                    <a:pt x="500" y="384"/>
                    <a:pt x="515" y="383"/>
                    <a:pt x="528" y="382"/>
                  </a:cubicBezTo>
                  <a:lnTo>
                    <a:pt x="528" y="718"/>
                  </a:lnTo>
                  <a:lnTo>
                    <a:pt x="397" y="718"/>
                  </a:lnTo>
                  <a:cubicBezTo>
                    <a:pt x="399" y="673"/>
                    <a:pt x="400" y="626"/>
                    <a:pt x="401" y="601"/>
                  </a:cubicBezTo>
                  <a:cubicBezTo>
                    <a:pt x="401" y="538"/>
                    <a:pt x="389" y="494"/>
                    <a:pt x="365" y="470"/>
                  </a:cubicBezTo>
                  <a:close/>
                  <a:moveTo>
                    <a:pt x="382" y="1046"/>
                  </a:moveTo>
                  <a:cubicBezTo>
                    <a:pt x="384" y="1008"/>
                    <a:pt x="389" y="916"/>
                    <a:pt x="393" y="822"/>
                  </a:cubicBezTo>
                  <a:lnTo>
                    <a:pt x="528" y="822"/>
                  </a:lnTo>
                  <a:lnTo>
                    <a:pt x="528" y="1046"/>
                  </a:lnTo>
                  <a:lnTo>
                    <a:pt x="382" y="1046"/>
                  </a:lnTo>
                  <a:close/>
                  <a:moveTo>
                    <a:pt x="563" y="1046"/>
                  </a:moveTo>
                  <a:lnTo>
                    <a:pt x="563" y="822"/>
                  </a:lnTo>
                  <a:lnTo>
                    <a:pt x="705" y="822"/>
                  </a:lnTo>
                  <a:lnTo>
                    <a:pt x="731" y="1046"/>
                  </a:lnTo>
                  <a:lnTo>
                    <a:pt x="563" y="104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0" name="POWER_USER_ID_ICONS_Cup">
            <a:extLst>
              <a:ext uri="{FF2B5EF4-FFF2-40B4-BE49-F238E27FC236}">
                <a16:creationId xmlns:a16="http://schemas.microsoft.com/office/drawing/2014/main" id="{7A6A077E-80B9-4EDC-85C3-3AFA26748FAE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0488957" y="4944423"/>
            <a:ext cx="745877" cy="805039"/>
            <a:chOff x="69" y="56"/>
            <a:chExt cx="353" cy="381"/>
          </a:xfrm>
          <a:solidFill>
            <a:schemeClr val="tx2"/>
          </a:solidFill>
        </p:grpSpPr>
        <p:sp>
          <p:nvSpPr>
            <p:cNvPr id="31" name="POWER_USER_ID_ICONS_Cup">
              <a:extLst>
                <a:ext uri="{FF2B5EF4-FFF2-40B4-BE49-F238E27FC236}">
                  <a16:creationId xmlns:a16="http://schemas.microsoft.com/office/drawing/2014/main" id="{B8CB9270-3C29-4E8B-BBE6-04A76210C59B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137" y="56"/>
              <a:ext cx="218" cy="381"/>
            </a:xfrm>
            <a:custGeom>
              <a:avLst/>
              <a:gdLst>
                <a:gd name="T0" fmla="*/ 480 w 515"/>
                <a:gd name="T1" fmla="*/ 407 h 900"/>
                <a:gd name="T2" fmla="*/ 515 w 515"/>
                <a:gd name="T3" fmla="*/ 13 h 900"/>
                <a:gd name="T4" fmla="*/ 511 w 515"/>
                <a:gd name="T5" fmla="*/ 3 h 900"/>
                <a:gd name="T6" fmla="*/ 502 w 515"/>
                <a:gd name="T7" fmla="*/ 0 h 900"/>
                <a:gd name="T8" fmla="*/ 13 w 515"/>
                <a:gd name="T9" fmla="*/ 0 h 900"/>
                <a:gd name="T10" fmla="*/ 4 w 515"/>
                <a:gd name="T11" fmla="*/ 3 h 900"/>
                <a:gd name="T12" fmla="*/ 0 w 515"/>
                <a:gd name="T13" fmla="*/ 13 h 900"/>
                <a:gd name="T14" fmla="*/ 35 w 515"/>
                <a:gd name="T15" fmla="*/ 407 h 900"/>
                <a:gd name="T16" fmla="*/ 220 w 515"/>
                <a:gd name="T17" fmla="*/ 623 h 900"/>
                <a:gd name="T18" fmla="*/ 235 w 515"/>
                <a:gd name="T19" fmla="*/ 613 h 900"/>
                <a:gd name="T20" fmla="*/ 225 w 515"/>
                <a:gd name="T21" fmla="*/ 598 h 900"/>
                <a:gd name="T22" fmla="*/ 60 w 515"/>
                <a:gd name="T23" fmla="*/ 405 h 900"/>
                <a:gd name="T24" fmla="*/ 26 w 515"/>
                <a:gd name="T25" fmla="*/ 25 h 900"/>
                <a:gd name="T26" fmla="*/ 489 w 515"/>
                <a:gd name="T27" fmla="*/ 25 h 900"/>
                <a:gd name="T28" fmla="*/ 455 w 515"/>
                <a:gd name="T29" fmla="*/ 405 h 900"/>
                <a:gd name="T30" fmla="*/ 290 w 515"/>
                <a:gd name="T31" fmla="*/ 598 h 900"/>
                <a:gd name="T32" fmla="*/ 287 w 515"/>
                <a:gd name="T33" fmla="*/ 600 h 900"/>
                <a:gd name="T34" fmla="*/ 286 w 515"/>
                <a:gd name="T35" fmla="*/ 600 h 900"/>
                <a:gd name="T36" fmla="*/ 282 w 515"/>
                <a:gd name="T37" fmla="*/ 602 h 900"/>
                <a:gd name="T38" fmla="*/ 281 w 515"/>
                <a:gd name="T39" fmla="*/ 603 h 900"/>
                <a:gd name="T40" fmla="*/ 279 w 515"/>
                <a:gd name="T41" fmla="*/ 606 h 900"/>
                <a:gd name="T42" fmla="*/ 279 w 515"/>
                <a:gd name="T43" fmla="*/ 607 h 900"/>
                <a:gd name="T44" fmla="*/ 279 w 515"/>
                <a:gd name="T45" fmla="*/ 610 h 900"/>
                <a:gd name="T46" fmla="*/ 279 w 515"/>
                <a:gd name="T47" fmla="*/ 611 h 900"/>
                <a:gd name="T48" fmla="*/ 279 w 515"/>
                <a:gd name="T49" fmla="*/ 691 h 900"/>
                <a:gd name="T50" fmla="*/ 421 w 515"/>
                <a:gd name="T51" fmla="*/ 833 h 900"/>
                <a:gd name="T52" fmla="*/ 422 w 515"/>
                <a:gd name="T53" fmla="*/ 833 h 900"/>
                <a:gd name="T54" fmla="*/ 449 w 515"/>
                <a:gd name="T55" fmla="*/ 860 h 900"/>
                <a:gd name="T56" fmla="*/ 449 w 515"/>
                <a:gd name="T57" fmla="*/ 875 h 900"/>
                <a:gd name="T58" fmla="*/ 65 w 515"/>
                <a:gd name="T59" fmla="*/ 875 h 900"/>
                <a:gd name="T60" fmla="*/ 65 w 515"/>
                <a:gd name="T61" fmla="*/ 860 h 900"/>
                <a:gd name="T62" fmla="*/ 91 w 515"/>
                <a:gd name="T63" fmla="*/ 833 h 900"/>
                <a:gd name="T64" fmla="*/ 93 w 515"/>
                <a:gd name="T65" fmla="*/ 833 h 900"/>
                <a:gd name="T66" fmla="*/ 221 w 515"/>
                <a:gd name="T67" fmla="*/ 753 h 900"/>
                <a:gd name="T68" fmla="*/ 215 w 515"/>
                <a:gd name="T69" fmla="*/ 737 h 900"/>
                <a:gd name="T70" fmla="*/ 199 w 515"/>
                <a:gd name="T71" fmla="*/ 743 h 900"/>
                <a:gd name="T72" fmla="*/ 93 w 515"/>
                <a:gd name="T73" fmla="*/ 810 h 900"/>
                <a:gd name="T74" fmla="*/ 91 w 515"/>
                <a:gd name="T75" fmla="*/ 810 h 900"/>
                <a:gd name="T76" fmla="*/ 40 w 515"/>
                <a:gd name="T77" fmla="*/ 861 h 900"/>
                <a:gd name="T78" fmla="*/ 40 w 515"/>
                <a:gd name="T79" fmla="*/ 887 h 900"/>
                <a:gd name="T80" fmla="*/ 53 w 515"/>
                <a:gd name="T81" fmla="*/ 900 h 900"/>
                <a:gd name="T82" fmla="*/ 461 w 515"/>
                <a:gd name="T83" fmla="*/ 900 h 900"/>
                <a:gd name="T84" fmla="*/ 474 w 515"/>
                <a:gd name="T85" fmla="*/ 887 h 900"/>
                <a:gd name="T86" fmla="*/ 474 w 515"/>
                <a:gd name="T87" fmla="*/ 860 h 900"/>
                <a:gd name="T88" fmla="*/ 423 w 515"/>
                <a:gd name="T89" fmla="*/ 808 h 900"/>
                <a:gd name="T90" fmla="*/ 421 w 515"/>
                <a:gd name="T91" fmla="*/ 808 h 900"/>
                <a:gd name="T92" fmla="*/ 304 w 515"/>
                <a:gd name="T93" fmla="*/ 691 h 900"/>
                <a:gd name="T94" fmla="*/ 304 w 515"/>
                <a:gd name="T95" fmla="*/ 621 h 900"/>
                <a:gd name="T96" fmla="*/ 480 w 515"/>
                <a:gd name="T97" fmla="*/ 407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5" h="900">
                  <a:moveTo>
                    <a:pt x="480" y="407"/>
                  </a:moveTo>
                  <a:lnTo>
                    <a:pt x="515" y="13"/>
                  </a:lnTo>
                  <a:cubicBezTo>
                    <a:pt x="515" y="10"/>
                    <a:pt x="514" y="6"/>
                    <a:pt x="511" y="3"/>
                  </a:cubicBezTo>
                  <a:cubicBezTo>
                    <a:pt x="509" y="1"/>
                    <a:pt x="506" y="0"/>
                    <a:pt x="502" y="0"/>
                  </a:cubicBezTo>
                  <a:lnTo>
                    <a:pt x="13" y="0"/>
                  </a:lnTo>
                  <a:cubicBezTo>
                    <a:pt x="9" y="0"/>
                    <a:pt x="6" y="1"/>
                    <a:pt x="4" y="3"/>
                  </a:cubicBezTo>
                  <a:cubicBezTo>
                    <a:pt x="1" y="6"/>
                    <a:pt x="0" y="10"/>
                    <a:pt x="0" y="13"/>
                  </a:cubicBezTo>
                  <a:lnTo>
                    <a:pt x="35" y="407"/>
                  </a:lnTo>
                  <a:cubicBezTo>
                    <a:pt x="45" y="517"/>
                    <a:pt x="121" y="605"/>
                    <a:pt x="220" y="623"/>
                  </a:cubicBezTo>
                  <a:cubicBezTo>
                    <a:pt x="226" y="625"/>
                    <a:pt x="234" y="620"/>
                    <a:pt x="235" y="613"/>
                  </a:cubicBezTo>
                  <a:cubicBezTo>
                    <a:pt x="236" y="607"/>
                    <a:pt x="231" y="600"/>
                    <a:pt x="225" y="598"/>
                  </a:cubicBezTo>
                  <a:cubicBezTo>
                    <a:pt x="136" y="582"/>
                    <a:pt x="69" y="503"/>
                    <a:pt x="60" y="405"/>
                  </a:cubicBezTo>
                  <a:lnTo>
                    <a:pt x="26" y="25"/>
                  </a:lnTo>
                  <a:lnTo>
                    <a:pt x="489" y="25"/>
                  </a:lnTo>
                  <a:lnTo>
                    <a:pt x="455" y="405"/>
                  </a:lnTo>
                  <a:cubicBezTo>
                    <a:pt x="446" y="503"/>
                    <a:pt x="377" y="582"/>
                    <a:pt x="290" y="598"/>
                  </a:cubicBezTo>
                  <a:cubicBezTo>
                    <a:pt x="289" y="598"/>
                    <a:pt x="289" y="598"/>
                    <a:pt x="287" y="600"/>
                  </a:cubicBezTo>
                  <a:lnTo>
                    <a:pt x="286" y="600"/>
                  </a:lnTo>
                  <a:cubicBezTo>
                    <a:pt x="285" y="600"/>
                    <a:pt x="284" y="601"/>
                    <a:pt x="282" y="602"/>
                  </a:cubicBezTo>
                  <a:lnTo>
                    <a:pt x="281" y="603"/>
                  </a:lnTo>
                  <a:lnTo>
                    <a:pt x="279" y="606"/>
                  </a:lnTo>
                  <a:lnTo>
                    <a:pt x="279" y="607"/>
                  </a:lnTo>
                  <a:lnTo>
                    <a:pt x="279" y="610"/>
                  </a:lnTo>
                  <a:lnTo>
                    <a:pt x="279" y="611"/>
                  </a:lnTo>
                  <a:lnTo>
                    <a:pt x="279" y="691"/>
                  </a:lnTo>
                  <a:cubicBezTo>
                    <a:pt x="279" y="770"/>
                    <a:pt x="342" y="833"/>
                    <a:pt x="421" y="833"/>
                  </a:cubicBezTo>
                  <a:lnTo>
                    <a:pt x="422" y="833"/>
                  </a:lnTo>
                  <a:cubicBezTo>
                    <a:pt x="437" y="833"/>
                    <a:pt x="449" y="845"/>
                    <a:pt x="449" y="860"/>
                  </a:cubicBezTo>
                  <a:lnTo>
                    <a:pt x="449" y="875"/>
                  </a:lnTo>
                  <a:lnTo>
                    <a:pt x="65" y="875"/>
                  </a:lnTo>
                  <a:lnTo>
                    <a:pt x="65" y="860"/>
                  </a:lnTo>
                  <a:cubicBezTo>
                    <a:pt x="65" y="844"/>
                    <a:pt x="76" y="833"/>
                    <a:pt x="91" y="833"/>
                  </a:cubicBezTo>
                  <a:lnTo>
                    <a:pt x="93" y="833"/>
                  </a:lnTo>
                  <a:cubicBezTo>
                    <a:pt x="148" y="833"/>
                    <a:pt x="196" y="802"/>
                    <a:pt x="221" y="753"/>
                  </a:cubicBezTo>
                  <a:cubicBezTo>
                    <a:pt x="224" y="747"/>
                    <a:pt x="221" y="740"/>
                    <a:pt x="215" y="737"/>
                  </a:cubicBezTo>
                  <a:cubicBezTo>
                    <a:pt x="209" y="735"/>
                    <a:pt x="201" y="737"/>
                    <a:pt x="199" y="743"/>
                  </a:cubicBezTo>
                  <a:cubicBezTo>
                    <a:pt x="179" y="785"/>
                    <a:pt x="139" y="810"/>
                    <a:pt x="93" y="810"/>
                  </a:cubicBezTo>
                  <a:lnTo>
                    <a:pt x="91" y="810"/>
                  </a:lnTo>
                  <a:cubicBezTo>
                    <a:pt x="63" y="810"/>
                    <a:pt x="40" y="832"/>
                    <a:pt x="40" y="861"/>
                  </a:cubicBezTo>
                  <a:lnTo>
                    <a:pt x="40" y="887"/>
                  </a:lnTo>
                  <a:cubicBezTo>
                    <a:pt x="40" y="894"/>
                    <a:pt x="45" y="900"/>
                    <a:pt x="53" y="900"/>
                  </a:cubicBezTo>
                  <a:lnTo>
                    <a:pt x="461" y="900"/>
                  </a:lnTo>
                  <a:cubicBezTo>
                    <a:pt x="469" y="900"/>
                    <a:pt x="474" y="894"/>
                    <a:pt x="474" y="887"/>
                  </a:cubicBezTo>
                  <a:lnTo>
                    <a:pt x="474" y="860"/>
                  </a:lnTo>
                  <a:cubicBezTo>
                    <a:pt x="474" y="831"/>
                    <a:pt x="451" y="808"/>
                    <a:pt x="423" y="808"/>
                  </a:cubicBezTo>
                  <a:lnTo>
                    <a:pt x="421" y="808"/>
                  </a:lnTo>
                  <a:cubicBezTo>
                    <a:pt x="356" y="808"/>
                    <a:pt x="304" y="756"/>
                    <a:pt x="304" y="691"/>
                  </a:cubicBezTo>
                  <a:lnTo>
                    <a:pt x="304" y="621"/>
                  </a:lnTo>
                  <a:cubicBezTo>
                    <a:pt x="399" y="598"/>
                    <a:pt x="470" y="512"/>
                    <a:pt x="480" y="40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" name="POWER_USER_ID_ICONS_Cup">
              <a:extLst>
                <a:ext uri="{FF2B5EF4-FFF2-40B4-BE49-F238E27FC236}">
                  <a16:creationId xmlns:a16="http://schemas.microsoft.com/office/drawing/2014/main" id="{5FC13EAF-0D69-4014-A672-F2A9D4E0203A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51" y="149"/>
              <a:ext cx="74" cy="149"/>
            </a:xfrm>
            <a:custGeom>
              <a:avLst/>
              <a:gdLst>
                <a:gd name="T0" fmla="*/ 13 w 174"/>
                <a:gd name="T1" fmla="*/ 351 h 351"/>
                <a:gd name="T2" fmla="*/ 15 w 174"/>
                <a:gd name="T3" fmla="*/ 351 h 351"/>
                <a:gd name="T4" fmla="*/ 159 w 174"/>
                <a:gd name="T5" fmla="*/ 181 h 351"/>
                <a:gd name="T6" fmla="*/ 174 w 174"/>
                <a:gd name="T7" fmla="*/ 13 h 351"/>
                <a:gd name="T8" fmla="*/ 163 w 174"/>
                <a:gd name="T9" fmla="*/ 0 h 351"/>
                <a:gd name="T10" fmla="*/ 149 w 174"/>
                <a:gd name="T11" fmla="*/ 11 h 351"/>
                <a:gd name="T12" fmla="*/ 134 w 174"/>
                <a:gd name="T13" fmla="*/ 179 h 351"/>
                <a:gd name="T14" fmla="*/ 11 w 174"/>
                <a:gd name="T15" fmla="*/ 326 h 351"/>
                <a:gd name="T16" fmla="*/ 1 w 174"/>
                <a:gd name="T17" fmla="*/ 341 h 351"/>
                <a:gd name="T18" fmla="*/ 13 w 174"/>
                <a:gd name="T19" fmla="*/ 351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" h="351">
                  <a:moveTo>
                    <a:pt x="13" y="351"/>
                  </a:moveTo>
                  <a:lnTo>
                    <a:pt x="15" y="351"/>
                  </a:lnTo>
                  <a:cubicBezTo>
                    <a:pt x="91" y="337"/>
                    <a:pt x="151" y="269"/>
                    <a:pt x="159" y="181"/>
                  </a:cubicBezTo>
                  <a:lnTo>
                    <a:pt x="174" y="13"/>
                  </a:lnTo>
                  <a:cubicBezTo>
                    <a:pt x="174" y="7"/>
                    <a:pt x="169" y="1"/>
                    <a:pt x="163" y="0"/>
                  </a:cubicBezTo>
                  <a:cubicBezTo>
                    <a:pt x="155" y="0"/>
                    <a:pt x="150" y="5"/>
                    <a:pt x="149" y="11"/>
                  </a:cubicBezTo>
                  <a:lnTo>
                    <a:pt x="134" y="179"/>
                  </a:lnTo>
                  <a:cubicBezTo>
                    <a:pt x="128" y="254"/>
                    <a:pt x="76" y="315"/>
                    <a:pt x="11" y="326"/>
                  </a:cubicBezTo>
                  <a:cubicBezTo>
                    <a:pt x="5" y="327"/>
                    <a:pt x="0" y="334"/>
                    <a:pt x="1" y="341"/>
                  </a:cubicBezTo>
                  <a:cubicBezTo>
                    <a:pt x="1" y="346"/>
                    <a:pt x="6" y="351"/>
                    <a:pt x="13" y="3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3" name="POWER_USER_ID_ICONS_Cup">
              <a:extLst>
                <a:ext uri="{FF2B5EF4-FFF2-40B4-BE49-F238E27FC236}">
                  <a16:creationId xmlns:a16="http://schemas.microsoft.com/office/drawing/2014/main" id="{31963445-E039-479D-BE57-B7EA94F817EF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164" y="78"/>
              <a:ext cx="106" cy="110"/>
            </a:xfrm>
            <a:custGeom>
              <a:avLst/>
              <a:gdLst>
                <a:gd name="T0" fmla="*/ 250 w 250"/>
                <a:gd name="T1" fmla="*/ 13 h 261"/>
                <a:gd name="T2" fmla="*/ 237 w 250"/>
                <a:gd name="T3" fmla="*/ 0 h 261"/>
                <a:gd name="T4" fmla="*/ 12 w 250"/>
                <a:gd name="T5" fmla="*/ 0 h 261"/>
                <a:gd name="T6" fmla="*/ 4 w 250"/>
                <a:gd name="T7" fmla="*/ 4 h 261"/>
                <a:gd name="T8" fmla="*/ 0 w 250"/>
                <a:gd name="T9" fmla="*/ 14 h 261"/>
                <a:gd name="T10" fmla="*/ 21 w 250"/>
                <a:gd name="T11" fmla="*/ 250 h 261"/>
                <a:gd name="T12" fmla="*/ 34 w 250"/>
                <a:gd name="T13" fmla="*/ 261 h 261"/>
                <a:gd name="T14" fmla="*/ 35 w 250"/>
                <a:gd name="T15" fmla="*/ 261 h 261"/>
                <a:gd name="T16" fmla="*/ 46 w 250"/>
                <a:gd name="T17" fmla="*/ 248 h 261"/>
                <a:gd name="T18" fmla="*/ 26 w 250"/>
                <a:gd name="T19" fmla="*/ 25 h 261"/>
                <a:gd name="T20" fmla="*/ 237 w 250"/>
                <a:gd name="T21" fmla="*/ 25 h 261"/>
                <a:gd name="T22" fmla="*/ 250 w 250"/>
                <a:gd name="T23" fmla="*/ 13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0" h="261">
                  <a:moveTo>
                    <a:pt x="250" y="13"/>
                  </a:moveTo>
                  <a:cubicBezTo>
                    <a:pt x="250" y="5"/>
                    <a:pt x="245" y="0"/>
                    <a:pt x="237" y="0"/>
                  </a:cubicBezTo>
                  <a:lnTo>
                    <a:pt x="12" y="0"/>
                  </a:lnTo>
                  <a:cubicBezTo>
                    <a:pt x="9" y="0"/>
                    <a:pt x="6" y="1"/>
                    <a:pt x="4" y="4"/>
                  </a:cubicBezTo>
                  <a:cubicBezTo>
                    <a:pt x="1" y="6"/>
                    <a:pt x="0" y="10"/>
                    <a:pt x="0" y="14"/>
                  </a:cubicBezTo>
                  <a:lnTo>
                    <a:pt x="21" y="250"/>
                  </a:lnTo>
                  <a:cubicBezTo>
                    <a:pt x="21" y="256"/>
                    <a:pt x="27" y="261"/>
                    <a:pt x="34" y="261"/>
                  </a:cubicBezTo>
                  <a:lnTo>
                    <a:pt x="35" y="261"/>
                  </a:lnTo>
                  <a:cubicBezTo>
                    <a:pt x="42" y="261"/>
                    <a:pt x="47" y="255"/>
                    <a:pt x="46" y="248"/>
                  </a:cubicBezTo>
                  <a:lnTo>
                    <a:pt x="26" y="25"/>
                  </a:lnTo>
                  <a:lnTo>
                    <a:pt x="237" y="25"/>
                  </a:lnTo>
                  <a:cubicBezTo>
                    <a:pt x="244" y="25"/>
                    <a:pt x="250" y="20"/>
                    <a:pt x="250" y="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" name="POWER_USER_ID_ICONS_Cup">
              <a:extLst>
                <a:ext uri="{FF2B5EF4-FFF2-40B4-BE49-F238E27FC236}">
                  <a16:creationId xmlns:a16="http://schemas.microsoft.com/office/drawing/2014/main" id="{EA468C86-F411-462F-A4A3-527FCB7D99B9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347" y="96"/>
              <a:ext cx="75" cy="139"/>
            </a:xfrm>
            <a:custGeom>
              <a:avLst/>
              <a:gdLst>
                <a:gd name="T0" fmla="*/ 174 w 178"/>
                <a:gd name="T1" fmla="*/ 4 h 329"/>
                <a:gd name="T2" fmla="*/ 165 w 178"/>
                <a:gd name="T3" fmla="*/ 0 h 329"/>
                <a:gd name="T4" fmla="*/ 42 w 178"/>
                <a:gd name="T5" fmla="*/ 0 h 329"/>
                <a:gd name="T6" fmla="*/ 29 w 178"/>
                <a:gd name="T7" fmla="*/ 13 h 329"/>
                <a:gd name="T8" fmla="*/ 42 w 178"/>
                <a:gd name="T9" fmla="*/ 25 h 329"/>
                <a:gd name="T10" fmla="*/ 152 w 178"/>
                <a:gd name="T11" fmla="*/ 25 h 329"/>
                <a:gd name="T12" fmla="*/ 10 w 178"/>
                <a:gd name="T13" fmla="*/ 304 h 329"/>
                <a:gd name="T14" fmla="*/ 3 w 178"/>
                <a:gd name="T15" fmla="*/ 321 h 329"/>
                <a:gd name="T16" fmla="*/ 14 w 178"/>
                <a:gd name="T17" fmla="*/ 329 h 329"/>
                <a:gd name="T18" fmla="*/ 18 w 178"/>
                <a:gd name="T19" fmla="*/ 328 h 329"/>
                <a:gd name="T20" fmla="*/ 177 w 178"/>
                <a:gd name="T21" fmla="*/ 13 h 329"/>
                <a:gd name="T22" fmla="*/ 174 w 178"/>
                <a:gd name="T23" fmla="*/ 4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8" h="329">
                  <a:moveTo>
                    <a:pt x="174" y="4"/>
                  </a:moveTo>
                  <a:cubicBezTo>
                    <a:pt x="172" y="2"/>
                    <a:pt x="168" y="0"/>
                    <a:pt x="165" y="0"/>
                  </a:cubicBezTo>
                  <a:lnTo>
                    <a:pt x="42" y="0"/>
                  </a:lnTo>
                  <a:cubicBezTo>
                    <a:pt x="34" y="0"/>
                    <a:pt x="29" y="5"/>
                    <a:pt x="29" y="13"/>
                  </a:cubicBezTo>
                  <a:cubicBezTo>
                    <a:pt x="29" y="21"/>
                    <a:pt x="34" y="25"/>
                    <a:pt x="42" y="25"/>
                  </a:cubicBezTo>
                  <a:lnTo>
                    <a:pt x="152" y="25"/>
                  </a:lnTo>
                  <a:cubicBezTo>
                    <a:pt x="147" y="77"/>
                    <a:pt x="120" y="267"/>
                    <a:pt x="10" y="304"/>
                  </a:cubicBezTo>
                  <a:cubicBezTo>
                    <a:pt x="4" y="307"/>
                    <a:pt x="0" y="314"/>
                    <a:pt x="3" y="321"/>
                  </a:cubicBezTo>
                  <a:cubicBezTo>
                    <a:pt x="4" y="325"/>
                    <a:pt x="9" y="329"/>
                    <a:pt x="14" y="329"/>
                  </a:cubicBezTo>
                  <a:cubicBezTo>
                    <a:pt x="15" y="329"/>
                    <a:pt x="17" y="329"/>
                    <a:pt x="18" y="328"/>
                  </a:cubicBezTo>
                  <a:cubicBezTo>
                    <a:pt x="162" y="278"/>
                    <a:pt x="177" y="24"/>
                    <a:pt x="177" y="13"/>
                  </a:cubicBezTo>
                  <a:cubicBezTo>
                    <a:pt x="178" y="9"/>
                    <a:pt x="177" y="7"/>
                    <a:pt x="174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5" name="POWER_USER_ID_ICONS_Cup">
              <a:extLst>
                <a:ext uri="{FF2B5EF4-FFF2-40B4-BE49-F238E27FC236}">
                  <a16:creationId xmlns:a16="http://schemas.microsoft.com/office/drawing/2014/main" id="{A7E93C65-B639-4784-A0DC-EB984001EECC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69" y="96"/>
              <a:ext cx="76" cy="139"/>
            </a:xfrm>
            <a:custGeom>
              <a:avLst/>
              <a:gdLst>
                <a:gd name="T0" fmla="*/ 168 w 178"/>
                <a:gd name="T1" fmla="*/ 304 h 329"/>
                <a:gd name="T2" fmla="*/ 26 w 178"/>
                <a:gd name="T3" fmla="*/ 25 h 329"/>
                <a:gd name="T4" fmla="*/ 136 w 178"/>
                <a:gd name="T5" fmla="*/ 25 h 329"/>
                <a:gd name="T6" fmla="*/ 149 w 178"/>
                <a:gd name="T7" fmla="*/ 13 h 329"/>
                <a:gd name="T8" fmla="*/ 136 w 178"/>
                <a:gd name="T9" fmla="*/ 0 h 329"/>
                <a:gd name="T10" fmla="*/ 13 w 178"/>
                <a:gd name="T11" fmla="*/ 0 h 329"/>
                <a:gd name="T12" fmla="*/ 4 w 178"/>
                <a:gd name="T13" fmla="*/ 4 h 329"/>
                <a:gd name="T14" fmla="*/ 0 w 178"/>
                <a:gd name="T15" fmla="*/ 13 h 329"/>
                <a:gd name="T16" fmla="*/ 159 w 178"/>
                <a:gd name="T17" fmla="*/ 328 h 329"/>
                <a:gd name="T18" fmla="*/ 163 w 178"/>
                <a:gd name="T19" fmla="*/ 329 h 329"/>
                <a:gd name="T20" fmla="*/ 174 w 178"/>
                <a:gd name="T21" fmla="*/ 321 h 329"/>
                <a:gd name="T22" fmla="*/ 168 w 178"/>
                <a:gd name="T23" fmla="*/ 304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8" h="329">
                  <a:moveTo>
                    <a:pt x="168" y="304"/>
                  </a:moveTo>
                  <a:cubicBezTo>
                    <a:pt x="58" y="265"/>
                    <a:pt x="31" y="77"/>
                    <a:pt x="26" y="25"/>
                  </a:cubicBezTo>
                  <a:lnTo>
                    <a:pt x="136" y="25"/>
                  </a:lnTo>
                  <a:cubicBezTo>
                    <a:pt x="144" y="25"/>
                    <a:pt x="149" y="21"/>
                    <a:pt x="149" y="13"/>
                  </a:cubicBezTo>
                  <a:cubicBezTo>
                    <a:pt x="149" y="5"/>
                    <a:pt x="144" y="0"/>
                    <a:pt x="136" y="0"/>
                  </a:cubicBezTo>
                  <a:lnTo>
                    <a:pt x="13" y="0"/>
                  </a:lnTo>
                  <a:cubicBezTo>
                    <a:pt x="9" y="0"/>
                    <a:pt x="6" y="2"/>
                    <a:pt x="4" y="4"/>
                  </a:cubicBezTo>
                  <a:cubicBezTo>
                    <a:pt x="1" y="7"/>
                    <a:pt x="0" y="10"/>
                    <a:pt x="0" y="13"/>
                  </a:cubicBezTo>
                  <a:cubicBezTo>
                    <a:pt x="0" y="24"/>
                    <a:pt x="16" y="278"/>
                    <a:pt x="159" y="328"/>
                  </a:cubicBezTo>
                  <a:cubicBezTo>
                    <a:pt x="160" y="328"/>
                    <a:pt x="161" y="329"/>
                    <a:pt x="163" y="329"/>
                  </a:cubicBezTo>
                  <a:cubicBezTo>
                    <a:pt x="167" y="329"/>
                    <a:pt x="173" y="326"/>
                    <a:pt x="174" y="321"/>
                  </a:cubicBezTo>
                  <a:cubicBezTo>
                    <a:pt x="178" y="313"/>
                    <a:pt x="174" y="307"/>
                    <a:pt x="168" y="30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6" name="POWER_USER_ID_ICONS_Flag5">
            <a:extLst>
              <a:ext uri="{FF2B5EF4-FFF2-40B4-BE49-F238E27FC236}">
                <a16:creationId xmlns:a16="http://schemas.microsoft.com/office/drawing/2014/main" id="{C7B9B8F0-C484-432E-8660-53743AA16358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1074824" y="1162860"/>
            <a:ext cx="482811" cy="621880"/>
            <a:chOff x="8" y="5"/>
            <a:chExt cx="368" cy="474"/>
          </a:xfrm>
          <a:solidFill>
            <a:schemeClr val="tx2"/>
          </a:solidFill>
        </p:grpSpPr>
        <p:sp>
          <p:nvSpPr>
            <p:cNvPr id="37" name="POWER_USER_ID_ICONS_Flag5">
              <a:extLst>
                <a:ext uri="{FF2B5EF4-FFF2-40B4-BE49-F238E27FC236}">
                  <a16:creationId xmlns:a16="http://schemas.microsoft.com/office/drawing/2014/main" id="{F661C1F2-BB68-46C2-A27E-5C4942EF26CA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8" y="5"/>
              <a:ext cx="26" cy="474"/>
            </a:xfrm>
            <a:custGeom>
              <a:avLst/>
              <a:gdLst>
                <a:gd name="T0" fmla="*/ 68 w 68"/>
                <a:gd name="T1" fmla="*/ 1223 h 1257"/>
                <a:gd name="T2" fmla="*/ 34 w 68"/>
                <a:gd name="T3" fmla="*/ 1257 h 1257"/>
                <a:gd name="T4" fmla="*/ 34 w 68"/>
                <a:gd name="T5" fmla="*/ 1257 h 1257"/>
                <a:gd name="T6" fmla="*/ 0 w 68"/>
                <a:gd name="T7" fmla="*/ 1223 h 1257"/>
                <a:gd name="T8" fmla="*/ 0 w 68"/>
                <a:gd name="T9" fmla="*/ 34 h 1257"/>
                <a:gd name="T10" fmla="*/ 34 w 68"/>
                <a:gd name="T11" fmla="*/ 0 h 1257"/>
                <a:gd name="T12" fmla="*/ 34 w 68"/>
                <a:gd name="T13" fmla="*/ 0 h 1257"/>
                <a:gd name="T14" fmla="*/ 68 w 68"/>
                <a:gd name="T15" fmla="*/ 34 h 1257"/>
                <a:gd name="T16" fmla="*/ 68 w 68"/>
                <a:gd name="T17" fmla="*/ 1223 h 1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257">
                  <a:moveTo>
                    <a:pt x="68" y="1223"/>
                  </a:moveTo>
                  <a:cubicBezTo>
                    <a:pt x="68" y="1242"/>
                    <a:pt x="53" y="1257"/>
                    <a:pt x="34" y="1257"/>
                  </a:cubicBezTo>
                  <a:lnTo>
                    <a:pt x="34" y="1257"/>
                  </a:lnTo>
                  <a:cubicBezTo>
                    <a:pt x="15" y="1257"/>
                    <a:pt x="0" y="1242"/>
                    <a:pt x="0" y="1223"/>
                  </a:cubicBezTo>
                  <a:lnTo>
                    <a:pt x="0" y="34"/>
                  </a:lnTo>
                  <a:cubicBezTo>
                    <a:pt x="0" y="15"/>
                    <a:pt x="15" y="0"/>
                    <a:pt x="34" y="0"/>
                  </a:cubicBezTo>
                  <a:lnTo>
                    <a:pt x="34" y="0"/>
                  </a:lnTo>
                  <a:cubicBezTo>
                    <a:pt x="53" y="0"/>
                    <a:pt x="68" y="15"/>
                    <a:pt x="68" y="34"/>
                  </a:cubicBezTo>
                  <a:lnTo>
                    <a:pt x="68" y="122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8" name="POWER_USER_ID_ICONS_Flag5">
              <a:extLst>
                <a:ext uri="{FF2B5EF4-FFF2-40B4-BE49-F238E27FC236}">
                  <a16:creationId xmlns:a16="http://schemas.microsoft.com/office/drawing/2014/main" id="{EDBD2CDD-22EB-4921-A981-E4174D9AC3F1}"/>
                </a:ext>
              </a:extLst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34" y="26"/>
              <a:ext cx="55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9" name="POWER_USER_ID_ICONS_Flag5">
              <a:extLst>
                <a:ext uri="{FF2B5EF4-FFF2-40B4-BE49-F238E27FC236}">
                  <a16:creationId xmlns:a16="http://schemas.microsoft.com/office/drawing/2014/main" id="{B7C872B1-1BC4-42FF-B545-B9E0E7080971}"/>
                </a:ext>
              </a:extLst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88" y="81"/>
              <a:ext cx="56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0" name="POWER_USER_ID_ICONS_Flag5">
              <a:extLst>
                <a:ext uri="{FF2B5EF4-FFF2-40B4-BE49-F238E27FC236}">
                  <a16:creationId xmlns:a16="http://schemas.microsoft.com/office/drawing/2014/main" id="{CB022C14-087E-4BFD-972E-2A0B75120B76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4" y="136"/>
              <a:ext cx="55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1" name="POWER_USER_ID_ICONS_Flag5">
              <a:extLst>
                <a:ext uri="{FF2B5EF4-FFF2-40B4-BE49-F238E27FC236}">
                  <a16:creationId xmlns:a16="http://schemas.microsoft.com/office/drawing/2014/main" id="{18CF13D4-53E4-4C75-950A-AAA510F24451}"/>
                </a:ext>
              </a:extLst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88" y="191"/>
              <a:ext cx="56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2" name="POWER_USER_ID_ICONS_Flag5">
              <a:extLst>
                <a:ext uri="{FF2B5EF4-FFF2-40B4-BE49-F238E27FC236}">
                  <a16:creationId xmlns:a16="http://schemas.microsoft.com/office/drawing/2014/main" id="{2C702511-CE4E-443D-9EC9-E5774BE25138}"/>
                </a:ext>
              </a:extLst>
            </p:cNvPr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144" y="26"/>
              <a:ext cx="54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3" name="POWER_USER_ID_ICONS_Flag5">
              <a:extLst>
                <a:ext uri="{FF2B5EF4-FFF2-40B4-BE49-F238E27FC236}">
                  <a16:creationId xmlns:a16="http://schemas.microsoft.com/office/drawing/2014/main" id="{28D0B7C1-B76C-4385-BF8B-0080397A9D10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198" y="81"/>
              <a:ext cx="55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4" name="POWER_USER_ID_ICONS_Flag5">
              <a:extLst>
                <a:ext uri="{FF2B5EF4-FFF2-40B4-BE49-F238E27FC236}">
                  <a16:creationId xmlns:a16="http://schemas.microsoft.com/office/drawing/2014/main" id="{3BB8CCF0-B116-454A-91A7-A271552C5285}"/>
                </a:ext>
              </a:extLst>
            </p:cNvPr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144" y="136"/>
              <a:ext cx="54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5" name="POWER_USER_ID_ICONS_Flag5">
              <a:extLst>
                <a:ext uri="{FF2B5EF4-FFF2-40B4-BE49-F238E27FC236}">
                  <a16:creationId xmlns:a16="http://schemas.microsoft.com/office/drawing/2014/main" id="{6B37672A-3AA2-499C-8983-99A988287FAC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198" y="191"/>
              <a:ext cx="55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6" name="POWER_USER_ID_ICONS_Flag5">
              <a:extLst>
                <a:ext uri="{FF2B5EF4-FFF2-40B4-BE49-F238E27FC236}">
                  <a16:creationId xmlns:a16="http://schemas.microsoft.com/office/drawing/2014/main" id="{000A2362-50A3-43F3-9AF9-DC043CE72DDC}"/>
                </a:ext>
              </a:extLst>
            </p:cNvPr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253" y="26"/>
              <a:ext cx="56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7" name="POWER_USER_ID_ICONS_Flag5">
              <a:extLst>
                <a:ext uri="{FF2B5EF4-FFF2-40B4-BE49-F238E27FC236}">
                  <a16:creationId xmlns:a16="http://schemas.microsoft.com/office/drawing/2014/main" id="{2F836E45-9A27-4294-9E4A-24DF80207136}"/>
                </a:ext>
              </a:extLst>
            </p:cNvPr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309" y="81"/>
              <a:ext cx="54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8" name="POWER_USER_ID_ICONS_Flag5">
              <a:extLst>
                <a:ext uri="{FF2B5EF4-FFF2-40B4-BE49-F238E27FC236}">
                  <a16:creationId xmlns:a16="http://schemas.microsoft.com/office/drawing/2014/main" id="{378EB9CF-37F2-488A-A824-2450D0DE3C6E}"/>
                </a:ext>
              </a:extLst>
            </p:cNvPr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253" y="136"/>
              <a:ext cx="56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9" name="POWER_USER_ID_ICONS_Flag5">
              <a:extLst>
                <a:ext uri="{FF2B5EF4-FFF2-40B4-BE49-F238E27FC236}">
                  <a16:creationId xmlns:a16="http://schemas.microsoft.com/office/drawing/2014/main" id="{0D59D537-4678-4709-903E-62040C6723DB}"/>
                </a:ext>
              </a:extLst>
            </p:cNvPr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309" y="191"/>
              <a:ext cx="54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0" name="POWER_USER_ID_ICONS_Flag5">
              <a:extLst>
                <a:ext uri="{FF2B5EF4-FFF2-40B4-BE49-F238E27FC236}">
                  <a16:creationId xmlns:a16="http://schemas.microsoft.com/office/drawing/2014/main" id="{CC205D72-BB1A-4272-B24F-27859E8919E3}"/>
                </a:ext>
              </a:extLst>
            </p:cNvPr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auto">
            <a:xfrm>
              <a:off x="15" y="15"/>
              <a:ext cx="361" cy="244"/>
            </a:xfrm>
            <a:custGeom>
              <a:avLst/>
              <a:gdLst>
                <a:gd name="T0" fmla="*/ 961 w 961"/>
                <a:gd name="T1" fmla="*/ 648 h 648"/>
                <a:gd name="T2" fmla="*/ 0 w 961"/>
                <a:gd name="T3" fmla="*/ 648 h 648"/>
                <a:gd name="T4" fmla="*/ 0 w 961"/>
                <a:gd name="T5" fmla="*/ 0 h 648"/>
                <a:gd name="T6" fmla="*/ 961 w 961"/>
                <a:gd name="T7" fmla="*/ 0 h 648"/>
                <a:gd name="T8" fmla="*/ 961 w 961"/>
                <a:gd name="T9" fmla="*/ 648 h 648"/>
                <a:gd name="T10" fmla="*/ 33 w 961"/>
                <a:gd name="T11" fmla="*/ 615 h 648"/>
                <a:gd name="T12" fmla="*/ 928 w 961"/>
                <a:gd name="T13" fmla="*/ 615 h 648"/>
                <a:gd name="T14" fmla="*/ 928 w 961"/>
                <a:gd name="T15" fmla="*/ 33 h 648"/>
                <a:gd name="T16" fmla="*/ 33 w 961"/>
                <a:gd name="T17" fmla="*/ 33 h 648"/>
                <a:gd name="T18" fmla="*/ 33 w 961"/>
                <a:gd name="T19" fmla="*/ 615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1" h="648">
                  <a:moveTo>
                    <a:pt x="961" y="648"/>
                  </a:moveTo>
                  <a:lnTo>
                    <a:pt x="0" y="648"/>
                  </a:lnTo>
                  <a:lnTo>
                    <a:pt x="0" y="0"/>
                  </a:lnTo>
                  <a:lnTo>
                    <a:pt x="961" y="0"/>
                  </a:lnTo>
                  <a:lnTo>
                    <a:pt x="961" y="648"/>
                  </a:lnTo>
                  <a:close/>
                  <a:moveTo>
                    <a:pt x="33" y="615"/>
                  </a:moveTo>
                  <a:lnTo>
                    <a:pt x="928" y="615"/>
                  </a:lnTo>
                  <a:lnTo>
                    <a:pt x="928" y="33"/>
                  </a:lnTo>
                  <a:lnTo>
                    <a:pt x="33" y="33"/>
                  </a:lnTo>
                  <a:lnTo>
                    <a:pt x="33" y="6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288174B-5047-42B3-8078-5A50892092B3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1142597" y="3587411"/>
            <a:ext cx="1960098" cy="1977437"/>
            <a:chOff x="9268877" y="1596791"/>
            <a:chExt cx="1005840" cy="1014737"/>
          </a:xfrm>
        </p:grpSpPr>
        <p:sp>
          <p:nvSpPr>
            <p:cNvPr id="52" name="Arc 51">
              <a:extLst>
                <a:ext uri="{FF2B5EF4-FFF2-40B4-BE49-F238E27FC236}">
                  <a16:creationId xmlns:a16="http://schemas.microsoft.com/office/drawing/2014/main" id="{7A95CD80-27D2-4BF6-A320-B68F904FF3AE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9268877" y="1605688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3" name="Arc 52">
              <a:extLst>
                <a:ext uri="{FF2B5EF4-FFF2-40B4-BE49-F238E27FC236}">
                  <a16:creationId xmlns:a16="http://schemas.microsoft.com/office/drawing/2014/main" id="{BDC68940-319F-4CCE-BAD7-AF38778BED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68877" y="1596791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54" name="Oval 53">
            <a:extLst>
              <a:ext uri="{FF2B5EF4-FFF2-40B4-BE49-F238E27FC236}">
                <a16:creationId xmlns:a16="http://schemas.microsoft.com/office/drawing/2014/main" id="{8E4A438B-ADB8-4765-9223-5E0E0C7DF56D}"/>
              </a:ext>
            </a:extLst>
          </p:cNvPr>
          <p:cNvSpPr>
            <a:spLocks noChangeAspect="1"/>
          </p:cNvSpPr>
          <p:nvPr/>
        </p:nvSpPr>
        <p:spPr>
          <a:xfrm>
            <a:off x="2755179" y="3464027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EDE20D5-091B-400A-8464-227B02AC3F24}"/>
              </a:ext>
            </a:extLst>
          </p:cNvPr>
          <p:cNvSpPr>
            <a:spLocks noChangeAspect="1"/>
          </p:cNvSpPr>
          <p:nvPr/>
        </p:nvSpPr>
        <p:spPr>
          <a:xfrm>
            <a:off x="8652233" y="3464027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C792DB7-2405-4127-B2EA-9A3064EC015D}"/>
              </a:ext>
            </a:extLst>
          </p:cNvPr>
          <p:cNvSpPr txBox="1"/>
          <p:nvPr/>
        </p:nvSpPr>
        <p:spPr>
          <a:xfrm>
            <a:off x="8200572" y="3722787"/>
            <a:ext cx="11400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noProof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ập</a:t>
            </a:r>
            <a:r>
              <a:rPr lang="en-US" b="1" kern="0" noProof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noProof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ình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70F2BE9-AF6B-48D2-879B-0B2EB5357307}"/>
              </a:ext>
            </a:extLst>
          </p:cNvPr>
          <p:cNvSpPr txBox="1"/>
          <p:nvPr/>
        </p:nvSpPr>
        <p:spPr>
          <a:xfrm>
            <a:off x="2318489" y="3753836"/>
            <a:ext cx="1124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noProof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ểm</a:t>
            </a:r>
            <a:r>
              <a:rPr lang="en-US" b="1" kern="0" noProof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noProof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ử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EC450BA0-C07B-4F51-8895-2F13EC0DD289}"/>
              </a:ext>
            </a:extLst>
          </p:cNvPr>
          <p:cNvSpPr>
            <a:spLocks noChangeAspect="1"/>
          </p:cNvSpPr>
          <p:nvPr/>
        </p:nvSpPr>
        <p:spPr>
          <a:xfrm>
            <a:off x="2755179" y="5416996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F5DB8215-436D-4C31-8592-C74C3B86C79F}"/>
              </a:ext>
            </a:extLst>
          </p:cNvPr>
          <p:cNvSpPr>
            <a:spLocks noChangeAspect="1"/>
          </p:cNvSpPr>
          <p:nvPr/>
        </p:nvSpPr>
        <p:spPr>
          <a:xfrm>
            <a:off x="8665226" y="5416996"/>
            <a:ext cx="218900" cy="2189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CA5C5C5-54F0-410E-AB5A-7ABE3545D348}"/>
              </a:ext>
            </a:extLst>
          </p:cNvPr>
          <p:cNvSpPr txBox="1"/>
          <p:nvPr/>
        </p:nvSpPr>
        <p:spPr>
          <a:xfrm>
            <a:off x="2230264" y="5583364"/>
            <a:ext cx="1281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àn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ện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08B3CD2-E772-41B6-BAAE-339BDD086A15}"/>
              </a:ext>
            </a:extLst>
          </p:cNvPr>
          <p:cNvSpPr txBox="1"/>
          <p:nvPr/>
        </p:nvSpPr>
        <p:spPr>
          <a:xfrm>
            <a:off x="7849779" y="5588130"/>
            <a:ext cx="19287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ận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ành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ảo</a:t>
            </a:r>
            <a:r>
              <a:rPr lang="en-US" b="1" kern="0" dirty="0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kern="0" dirty="0" err="1">
                <a:solidFill>
                  <a:srgbClr val="0461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ì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POWER_USER_ID_ICONS_Board">
            <a:extLst>
              <a:ext uri="{FF2B5EF4-FFF2-40B4-BE49-F238E27FC236}">
                <a16:creationId xmlns:a16="http://schemas.microsoft.com/office/drawing/2014/main" id="{75016158-944B-4282-B6FF-AC547919438F}"/>
              </a:ext>
            </a:extLst>
          </p:cNvPr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2641021" y="2874749"/>
            <a:ext cx="412665" cy="524310"/>
          </a:xfrm>
          <a:custGeom>
            <a:avLst/>
            <a:gdLst>
              <a:gd name="T0" fmla="*/ 516 w 567"/>
              <a:gd name="T1" fmla="*/ 239 h 719"/>
              <a:gd name="T2" fmla="*/ 497 w 567"/>
              <a:gd name="T3" fmla="*/ 268 h 719"/>
              <a:gd name="T4" fmla="*/ 327 w 567"/>
              <a:gd name="T5" fmla="*/ 393 h 719"/>
              <a:gd name="T6" fmla="*/ 309 w 567"/>
              <a:gd name="T7" fmla="*/ 411 h 719"/>
              <a:gd name="T8" fmla="*/ 261 w 567"/>
              <a:gd name="T9" fmla="*/ 428 h 719"/>
              <a:gd name="T10" fmla="*/ 233 w 567"/>
              <a:gd name="T11" fmla="*/ 260 h 719"/>
              <a:gd name="T12" fmla="*/ 233 w 567"/>
              <a:gd name="T13" fmla="*/ 257 h 719"/>
              <a:gd name="T14" fmla="*/ 96 w 567"/>
              <a:gd name="T15" fmla="*/ 440 h 719"/>
              <a:gd name="T16" fmla="*/ 75 w 567"/>
              <a:gd name="T17" fmla="*/ 452 h 719"/>
              <a:gd name="T18" fmla="*/ 62 w 567"/>
              <a:gd name="T19" fmla="*/ 448 h 719"/>
              <a:gd name="T20" fmla="*/ 54 w 567"/>
              <a:gd name="T21" fmla="*/ 414 h 719"/>
              <a:gd name="T22" fmla="*/ 253 w 567"/>
              <a:gd name="T23" fmla="*/ 203 h 719"/>
              <a:gd name="T24" fmla="*/ 283 w 567"/>
              <a:gd name="T25" fmla="*/ 260 h 719"/>
              <a:gd name="T26" fmla="*/ 285 w 567"/>
              <a:gd name="T27" fmla="*/ 365 h 719"/>
              <a:gd name="T28" fmla="*/ 291 w 567"/>
              <a:gd name="T29" fmla="*/ 359 h 719"/>
              <a:gd name="T30" fmla="*/ 487 w 567"/>
              <a:gd name="T31" fmla="*/ 219 h 719"/>
              <a:gd name="T32" fmla="*/ 516 w 567"/>
              <a:gd name="T33" fmla="*/ 239 h 719"/>
              <a:gd name="T34" fmla="*/ 222 w 567"/>
              <a:gd name="T35" fmla="*/ 3 h 719"/>
              <a:gd name="T36" fmla="*/ 192 w 567"/>
              <a:gd name="T37" fmla="*/ 22 h 719"/>
              <a:gd name="T38" fmla="*/ 172 w 567"/>
              <a:gd name="T39" fmla="*/ 110 h 719"/>
              <a:gd name="T40" fmla="*/ 133 w 567"/>
              <a:gd name="T41" fmla="*/ 110 h 719"/>
              <a:gd name="T42" fmla="*/ 110 w 567"/>
              <a:gd name="T43" fmla="*/ 127 h 719"/>
              <a:gd name="T44" fmla="*/ 35 w 567"/>
              <a:gd name="T45" fmla="*/ 127 h 719"/>
              <a:gd name="T46" fmla="*/ 0 w 567"/>
              <a:gd name="T47" fmla="*/ 156 h 719"/>
              <a:gd name="T48" fmla="*/ 0 w 567"/>
              <a:gd name="T49" fmla="*/ 464 h 719"/>
              <a:gd name="T50" fmla="*/ 35 w 567"/>
              <a:gd name="T51" fmla="*/ 494 h 719"/>
              <a:gd name="T52" fmla="*/ 86 w 567"/>
              <a:gd name="T53" fmla="*/ 494 h 719"/>
              <a:gd name="T54" fmla="*/ 42 w 567"/>
              <a:gd name="T55" fmla="*/ 688 h 719"/>
              <a:gd name="T56" fmla="*/ 61 w 567"/>
              <a:gd name="T57" fmla="*/ 718 h 719"/>
              <a:gd name="T58" fmla="*/ 67 w 567"/>
              <a:gd name="T59" fmla="*/ 719 h 719"/>
              <a:gd name="T60" fmla="*/ 91 w 567"/>
              <a:gd name="T61" fmla="*/ 699 h 719"/>
              <a:gd name="T62" fmla="*/ 130 w 567"/>
              <a:gd name="T63" fmla="*/ 527 h 719"/>
              <a:gd name="T64" fmla="*/ 133 w 567"/>
              <a:gd name="T65" fmla="*/ 527 h 719"/>
              <a:gd name="T66" fmla="*/ 258 w 567"/>
              <a:gd name="T67" fmla="*/ 527 h 719"/>
              <a:gd name="T68" fmla="*/ 258 w 567"/>
              <a:gd name="T69" fmla="*/ 694 h 719"/>
              <a:gd name="T70" fmla="*/ 283 w 567"/>
              <a:gd name="T71" fmla="*/ 719 h 719"/>
              <a:gd name="T72" fmla="*/ 308 w 567"/>
              <a:gd name="T73" fmla="*/ 694 h 719"/>
              <a:gd name="T74" fmla="*/ 308 w 567"/>
              <a:gd name="T75" fmla="*/ 527 h 719"/>
              <a:gd name="T76" fmla="*/ 433 w 567"/>
              <a:gd name="T77" fmla="*/ 527 h 719"/>
              <a:gd name="T78" fmla="*/ 441 w 567"/>
              <a:gd name="T79" fmla="*/ 526 h 719"/>
              <a:gd name="T80" fmla="*/ 475 w 567"/>
              <a:gd name="T81" fmla="*/ 699 h 719"/>
              <a:gd name="T82" fmla="*/ 500 w 567"/>
              <a:gd name="T83" fmla="*/ 719 h 719"/>
              <a:gd name="T84" fmla="*/ 505 w 567"/>
              <a:gd name="T85" fmla="*/ 718 h 719"/>
              <a:gd name="T86" fmla="*/ 525 w 567"/>
              <a:gd name="T87" fmla="*/ 689 h 719"/>
              <a:gd name="T88" fmla="*/ 485 w 567"/>
              <a:gd name="T89" fmla="*/ 494 h 719"/>
              <a:gd name="T90" fmla="*/ 531 w 567"/>
              <a:gd name="T91" fmla="*/ 494 h 719"/>
              <a:gd name="T92" fmla="*/ 567 w 567"/>
              <a:gd name="T93" fmla="*/ 464 h 719"/>
              <a:gd name="T94" fmla="*/ 567 w 567"/>
              <a:gd name="T95" fmla="*/ 156 h 719"/>
              <a:gd name="T96" fmla="*/ 531 w 567"/>
              <a:gd name="T97" fmla="*/ 127 h 719"/>
              <a:gd name="T98" fmla="*/ 457 w 567"/>
              <a:gd name="T99" fmla="*/ 127 h 719"/>
              <a:gd name="T100" fmla="*/ 433 w 567"/>
              <a:gd name="T101" fmla="*/ 110 h 719"/>
              <a:gd name="T102" fmla="*/ 409 w 567"/>
              <a:gd name="T103" fmla="*/ 110 h 719"/>
              <a:gd name="T104" fmla="*/ 391 w 567"/>
              <a:gd name="T105" fmla="*/ 22 h 719"/>
              <a:gd name="T106" fmla="*/ 362 w 567"/>
              <a:gd name="T107" fmla="*/ 2 h 719"/>
              <a:gd name="T108" fmla="*/ 342 w 567"/>
              <a:gd name="T109" fmla="*/ 32 h 719"/>
              <a:gd name="T110" fmla="*/ 358 w 567"/>
              <a:gd name="T111" fmla="*/ 110 h 719"/>
              <a:gd name="T112" fmla="*/ 224 w 567"/>
              <a:gd name="T113" fmla="*/ 110 h 719"/>
              <a:gd name="T114" fmla="*/ 241 w 567"/>
              <a:gd name="T115" fmla="*/ 32 h 719"/>
              <a:gd name="T116" fmla="*/ 222 w 567"/>
              <a:gd name="T117" fmla="*/ 3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67" h="719">
                <a:moveTo>
                  <a:pt x="516" y="239"/>
                </a:moveTo>
                <a:cubicBezTo>
                  <a:pt x="519" y="252"/>
                  <a:pt x="510" y="265"/>
                  <a:pt x="497" y="268"/>
                </a:cubicBezTo>
                <a:cubicBezTo>
                  <a:pt x="433" y="281"/>
                  <a:pt x="364" y="354"/>
                  <a:pt x="327" y="393"/>
                </a:cubicBezTo>
                <a:cubicBezTo>
                  <a:pt x="320" y="400"/>
                  <a:pt x="314" y="406"/>
                  <a:pt x="309" y="411"/>
                </a:cubicBezTo>
                <a:cubicBezTo>
                  <a:pt x="302" y="418"/>
                  <a:pt x="283" y="437"/>
                  <a:pt x="261" y="428"/>
                </a:cubicBezTo>
                <a:cubicBezTo>
                  <a:pt x="233" y="417"/>
                  <a:pt x="233" y="387"/>
                  <a:pt x="233" y="260"/>
                </a:cubicBezTo>
                <a:cubicBezTo>
                  <a:pt x="233" y="259"/>
                  <a:pt x="233" y="258"/>
                  <a:pt x="233" y="257"/>
                </a:cubicBezTo>
                <a:cubicBezTo>
                  <a:pt x="205" y="280"/>
                  <a:pt x="148" y="356"/>
                  <a:pt x="96" y="440"/>
                </a:cubicBezTo>
                <a:cubicBezTo>
                  <a:pt x="92" y="448"/>
                  <a:pt x="83" y="452"/>
                  <a:pt x="75" y="452"/>
                </a:cubicBezTo>
                <a:cubicBezTo>
                  <a:pt x="71" y="452"/>
                  <a:pt x="66" y="451"/>
                  <a:pt x="62" y="448"/>
                </a:cubicBezTo>
                <a:cubicBezTo>
                  <a:pt x="50" y="441"/>
                  <a:pt x="46" y="426"/>
                  <a:pt x="54" y="414"/>
                </a:cubicBezTo>
                <a:cubicBezTo>
                  <a:pt x="193" y="186"/>
                  <a:pt x="238" y="198"/>
                  <a:pt x="253" y="203"/>
                </a:cubicBezTo>
                <a:cubicBezTo>
                  <a:pt x="273" y="208"/>
                  <a:pt x="283" y="228"/>
                  <a:pt x="283" y="260"/>
                </a:cubicBezTo>
                <a:cubicBezTo>
                  <a:pt x="283" y="302"/>
                  <a:pt x="283" y="341"/>
                  <a:pt x="285" y="365"/>
                </a:cubicBezTo>
                <a:cubicBezTo>
                  <a:pt x="287" y="363"/>
                  <a:pt x="289" y="361"/>
                  <a:pt x="291" y="359"/>
                </a:cubicBezTo>
                <a:cubicBezTo>
                  <a:pt x="331" y="316"/>
                  <a:pt x="407" y="235"/>
                  <a:pt x="487" y="219"/>
                </a:cubicBezTo>
                <a:cubicBezTo>
                  <a:pt x="500" y="216"/>
                  <a:pt x="513" y="225"/>
                  <a:pt x="516" y="239"/>
                </a:cubicBezTo>
                <a:close/>
                <a:moveTo>
                  <a:pt x="222" y="3"/>
                </a:moveTo>
                <a:cubicBezTo>
                  <a:pt x="209" y="0"/>
                  <a:pt x="195" y="8"/>
                  <a:pt x="192" y="22"/>
                </a:cubicBezTo>
                <a:lnTo>
                  <a:pt x="172" y="110"/>
                </a:lnTo>
                <a:lnTo>
                  <a:pt x="133" y="110"/>
                </a:lnTo>
                <a:cubicBezTo>
                  <a:pt x="122" y="110"/>
                  <a:pt x="113" y="117"/>
                  <a:pt x="110" y="127"/>
                </a:cubicBezTo>
                <a:lnTo>
                  <a:pt x="35" y="127"/>
                </a:lnTo>
                <a:cubicBezTo>
                  <a:pt x="16" y="127"/>
                  <a:pt x="0" y="140"/>
                  <a:pt x="0" y="156"/>
                </a:cubicBezTo>
                <a:lnTo>
                  <a:pt x="0" y="464"/>
                </a:lnTo>
                <a:cubicBezTo>
                  <a:pt x="0" y="481"/>
                  <a:pt x="16" y="494"/>
                  <a:pt x="35" y="494"/>
                </a:cubicBezTo>
                <a:lnTo>
                  <a:pt x="86" y="494"/>
                </a:lnTo>
                <a:lnTo>
                  <a:pt x="42" y="688"/>
                </a:lnTo>
                <a:cubicBezTo>
                  <a:pt x="39" y="702"/>
                  <a:pt x="48" y="715"/>
                  <a:pt x="61" y="718"/>
                </a:cubicBezTo>
                <a:cubicBezTo>
                  <a:pt x="63" y="718"/>
                  <a:pt x="65" y="719"/>
                  <a:pt x="67" y="719"/>
                </a:cubicBezTo>
                <a:cubicBezTo>
                  <a:pt x="78" y="719"/>
                  <a:pt x="88" y="711"/>
                  <a:pt x="91" y="699"/>
                </a:cubicBezTo>
                <a:lnTo>
                  <a:pt x="130" y="527"/>
                </a:lnTo>
                <a:cubicBezTo>
                  <a:pt x="131" y="527"/>
                  <a:pt x="132" y="527"/>
                  <a:pt x="133" y="527"/>
                </a:cubicBezTo>
                <a:lnTo>
                  <a:pt x="258" y="527"/>
                </a:lnTo>
                <a:lnTo>
                  <a:pt x="258" y="694"/>
                </a:lnTo>
                <a:cubicBezTo>
                  <a:pt x="258" y="707"/>
                  <a:pt x="270" y="719"/>
                  <a:pt x="283" y="719"/>
                </a:cubicBezTo>
                <a:cubicBezTo>
                  <a:pt x="297" y="719"/>
                  <a:pt x="308" y="707"/>
                  <a:pt x="308" y="694"/>
                </a:cubicBezTo>
                <a:lnTo>
                  <a:pt x="308" y="527"/>
                </a:lnTo>
                <a:lnTo>
                  <a:pt x="433" y="527"/>
                </a:lnTo>
                <a:cubicBezTo>
                  <a:pt x="436" y="527"/>
                  <a:pt x="439" y="526"/>
                  <a:pt x="441" y="526"/>
                </a:cubicBezTo>
                <a:lnTo>
                  <a:pt x="475" y="699"/>
                </a:lnTo>
                <a:cubicBezTo>
                  <a:pt x="478" y="710"/>
                  <a:pt x="488" y="719"/>
                  <a:pt x="500" y="719"/>
                </a:cubicBezTo>
                <a:cubicBezTo>
                  <a:pt x="502" y="719"/>
                  <a:pt x="503" y="719"/>
                  <a:pt x="505" y="718"/>
                </a:cubicBezTo>
                <a:cubicBezTo>
                  <a:pt x="518" y="715"/>
                  <a:pt x="527" y="702"/>
                  <a:pt x="525" y="689"/>
                </a:cubicBezTo>
                <a:lnTo>
                  <a:pt x="485" y="494"/>
                </a:lnTo>
                <a:lnTo>
                  <a:pt x="531" y="494"/>
                </a:lnTo>
                <a:cubicBezTo>
                  <a:pt x="551" y="494"/>
                  <a:pt x="567" y="481"/>
                  <a:pt x="567" y="464"/>
                </a:cubicBezTo>
                <a:lnTo>
                  <a:pt x="567" y="156"/>
                </a:lnTo>
                <a:cubicBezTo>
                  <a:pt x="567" y="140"/>
                  <a:pt x="551" y="127"/>
                  <a:pt x="531" y="127"/>
                </a:cubicBezTo>
                <a:lnTo>
                  <a:pt x="457" y="127"/>
                </a:lnTo>
                <a:cubicBezTo>
                  <a:pt x="453" y="117"/>
                  <a:pt x="444" y="110"/>
                  <a:pt x="433" y="110"/>
                </a:cubicBezTo>
                <a:lnTo>
                  <a:pt x="409" y="110"/>
                </a:lnTo>
                <a:lnTo>
                  <a:pt x="391" y="22"/>
                </a:lnTo>
                <a:cubicBezTo>
                  <a:pt x="388" y="9"/>
                  <a:pt x="375" y="0"/>
                  <a:pt x="362" y="2"/>
                </a:cubicBezTo>
                <a:cubicBezTo>
                  <a:pt x="348" y="5"/>
                  <a:pt x="339" y="18"/>
                  <a:pt x="342" y="32"/>
                </a:cubicBezTo>
                <a:lnTo>
                  <a:pt x="358" y="110"/>
                </a:lnTo>
                <a:lnTo>
                  <a:pt x="224" y="110"/>
                </a:lnTo>
                <a:lnTo>
                  <a:pt x="241" y="32"/>
                </a:lnTo>
                <a:cubicBezTo>
                  <a:pt x="244" y="19"/>
                  <a:pt x="236" y="6"/>
                  <a:pt x="222" y="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3" name="POWER_USER_ID_ICONS_Clipboard3">
            <a:extLst>
              <a:ext uri="{FF2B5EF4-FFF2-40B4-BE49-F238E27FC236}">
                <a16:creationId xmlns:a16="http://schemas.microsoft.com/office/drawing/2014/main" id="{213365D5-1EF0-43B2-89D0-2CB5892B4A9C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8543585" y="2808511"/>
            <a:ext cx="388824" cy="518831"/>
            <a:chOff x="63" y="9"/>
            <a:chExt cx="326" cy="435"/>
          </a:xfrm>
          <a:solidFill>
            <a:schemeClr val="tx2"/>
          </a:solidFill>
        </p:grpSpPr>
        <p:sp>
          <p:nvSpPr>
            <p:cNvPr id="64" name="POWER_USER_ID_ICONS_Clipboard3">
              <a:extLst>
                <a:ext uri="{FF2B5EF4-FFF2-40B4-BE49-F238E27FC236}">
                  <a16:creationId xmlns:a16="http://schemas.microsoft.com/office/drawing/2014/main" id="{C1BA7D78-D4E9-48EC-A831-BC0C67BA2051}"/>
                </a:ext>
              </a:extLst>
            </p:cNvPr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63" y="9"/>
              <a:ext cx="326" cy="435"/>
            </a:xfrm>
            <a:custGeom>
              <a:avLst/>
              <a:gdLst>
                <a:gd name="T0" fmla="*/ 206 w 225"/>
                <a:gd name="T1" fmla="*/ 24 h 299"/>
                <a:gd name="T2" fmla="*/ 175 w 225"/>
                <a:gd name="T3" fmla="*/ 24 h 299"/>
                <a:gd name="T4" fmla="*/ 172 w 225"/>
                <a:gd name="T5" fmla="*/ 25 h 299"/>
                <a:gd name="T6" fmla="*/ 150 w 225"/>
                <a:gd name="T7" fmla="*/ 12 h 299"/>
                <a:gd name="T8" fmla="*/ 129 w 225"/>
                <a:gd name="T9" fmla="*/ 12 h 299"/>
                <a:gd name="T10" fmla="*/ 112 w 225"/>
                <a:gd name="T11" fmla="*/ 0 h 299"/>
                <a:gd name="T12" fmla="*/ 95 w 225"/>
                <a:gd name="T13" fmla="*/ 12 h 299"/>
                <a:gd name="T14" fmla="*/ 74 w 225"/>
                <a:gd name="T15" fmla="*/ 12 h 299"/>
                <a:gd name="T16" fmla="*/ 52 w 225"/>
                <a:gd name="T17" fmla="*/ 25 h 299"/>
                <a:gd name="T18" fmla="*/ 50 w 225"/>
                <a:gd name="T19" fmla="*/ 24 h 299"/>
                <a:gd name="T20" fmla="*/ 18 w 225"/>
                <a:gd name="T21" fmla="*/ 24 h 299"/>
                <a:gd name="T22" fmla="*/ 0 w 225"/>
                <a:gd name="T23" fmla="*/ 43 h 299"/>
                <a:gd name="T24" fmla="*/ 0 w 225"/>
                <a:gd name="T25" fmla="*/ 280 h 299"/>
                <a:gd name="T26" fmla="*/ 18 w 225"/>
                <a:gd name="T27" fmla="*/ 299 h 299"/>
                <a:gd name="T28" fmla="*/ 206 w 225"/>
                <a:gd name="T29" fmla="*/ 299 h 299"/>
                <a:gd name="T30" fmla="*/ 225 w 225"/>
                <a:gd name="T31" fmla="*/ 280 h 299"/>
                <a:gd name="T32" fmla="*/ 225 w 225"/>
                <a:gd name="T33" fmla="*/ 43 h 299"/>
                <a:gd name="T34" fmla="*/ 206 w 225"/>
                <a:gd name="T35" fmla="*/ 24 h 299"/>
                <a:gd name="T36" fmla="*/ 62 w 225"/>
                <a:gd name="T37" fmla="*/ 36 h 299"/>
                <a:gd name="T38" fmla="*/ 74 w 225"/>
                <a:gd name="T39" fmla="*/ 24 h 299"/>
                <a:gd name="T40" fmla="*/ 100 w 225"/>
                <a:gd name="T41" fmla="*/ 24 h 299"/>
                <a:gd name="T42" fmla="*/ 100 w 225"/>
                <a:gd name="T43" fmla="*/ 24 h 299"/>
                <a:gd name="T44" fmla="*/ 100 w 225"/>
                <a:gd name="T45" fmla="*/ 24 h 299"/>
                <a:gd name="T46" fmla="*/ 107 w 225"/>
                <a:gd name="T47" fmla="*/ 18 h 299"/>
                <a:gd name="T48" fmla="*/ 112 w 225"/>
                <a:gd name="T49" fmla="*/ 12 h 299"/>
                <a:gd name="T50" fmla="*/ 117 w 225"/>
                <a:gd name="T51" fmla="*/ 18 h 299"/>
                <a:gd name="T52" fmla="*/ 124 w 225"/>
                <a:gd name="T53" fmla="*/ 24 h 299"/>
                <a:gd name="T54" fmla="*/ 124 w 225"/>
                <a:gd name="T55" fmla="*/ 24 h 299"/>
                <a:gd name="T56" fmla="*/ 124 w 225"/>
                <a:gd name="T57" fmla="*/ 24 h 299"/>
                <a:gd name="T58" fmla="*/ 150 w 225"/>
                <a:gd name="T59" fmla="*/ 24 h 299"/>
                <a:gd name="T60" fmla="*/ 162 w 225"/>
                <a:gd name="T61" fmla="*/ 36 h 299"/>
                <a:gd name="T62" fmla="*/ 162 w 225"/>
                <a:gd name="T63" fmla="*/ 49 h 299"/>
                <a:gd name="T64" fmla="*/ 62 w 225"/>
                <a:gd name="T65" fmla="*/ 49 h 299"/>
                <a:gd name="T66" fmla="*/ 62 w 225"/>
                <a:gd name="T67" fmla="*/ 36 h 299"/>
                <a:gd name="T68" fmla="*/ 212 w 225"/>
                <a:gd name="T69" fmla="*/ 280 h 299"/>
                <a:gd name="T70" fmla="*/ 206 w 225"/>
                <a:gd name="T71" fmla="*/ 287 h 299"/>
                <a:gd name="T72" fmla="*/ 18 w 225"/>
                <a:gd name="T73" fmla="*/ 287 h 299"/>
                <a:gd name="T74" fmla="*/ 12 w 225"/>
                <a:gd name="T75" fmla="*/ 280 h 299"/>
                <a:gd name="T76" fmla="*/ 12 w 225"/>
                <a:gd name="T77" fmla="*/ 43 h 299"/>
                <a:gd name="T78" fmla="*/ 18 w 225"/>
                <a:gd name="T79" fmla="*/ 37 h 299"/>
                <a:gd name="T80" fmla="*/ 50 w 225"/>
                <a:gd name="T81" fmla="*/ 37 h 299"/>
                <a:gd name="T82" fmla="*/ 50 w 225"/>
                <a:gd name="T83" fmla="*/ 55 h 299"/>
                <a:gd name="T84" fmla="*/ 56 w 225"/>
                <a:gd name="T85" fmla="*/ 62 h 299"/>
                <a:gd name="T86" fmla="*/ 168 w 225"/>
                <a:gd name="T87" fmla="*/ 62 h 299"/>
                <a:gd name="T88" fmla="*/ 175 w 225"/>
                <a:gd name="T89" fmla="*/ 55 h 299"/>
                <a:gd name="T90" fmla="*/ 175 w 225"/>
                <a:gd name="T91" fmla="*/ 37 h 299"/>
                <a:gd name="T92" fmla="*/ 206 w 225"/>
                <a:gd name="T93" fmla="*/ 37 h 299"/>
                <a:gd name="T94" fmla="*/ 212 w 225"/>
                <a:gd name="T95" fmla="*/ 43 h 299"/>
                <a:gd name="T96" fmla="*/ 212 w 225"/>
                <a:gd name="T97" fmla="*/ 28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5" h="299">
                  <a:moveTo>
                    <a:pt x="206" y="24"/>
                  </a:moveTo>
                  <a:lnTo>
                    <a:pt x="175" y="24"/>
                  </a:lnTo>
                  <a:cubicBezTo>
                    <a:pt x="173" y="24"/>
                    <a:pt x="173" y="24"/>
                    <a:pt x="172" y="25"/>
                  </a:cubicBezTo>
                  <a:cubicBezTo>
                    <a:pt x="168" y="17"/>
                    <a:pt x="159" y="12"/>
                    <a:pt x="150" y="12"/>
                  </a:cubicBezTo>
                  <a:lnTo>
                    <a:pt x="129" y="12"/>
                  </a:lnTo>
                  <a:cubicBezTo>
                    <a:pt x="126" y="5"/>
                    <a:pt x="120" y="0"/>
                    <a:pt x="112" y="0"/>
                  </a:cubicBezTo>
                  <a:cubicBezTo>
                    <a:pt x="104" y="0"/>
                    <a:pt x="98" y="5"/>
                    <a:pt x="95" y="12"/>
                  </a:cubicBezTo>
                  <a:lnTo>
                    <a:pt x="74" y="12"/>
                  </a:lnTo>
                  <a:cubicBezTo>
                    <a:pt x="65" y="12"/>
                    <a:pt x="56" y="17"/>
                    <a:pt x="52" y="25"/>
                  </a:cubicBezTo>
                  <a:cubicBezTo>
                    <a:pt x="51" y="24"/>
                    <a:pt x="51" y="24"/>
                    <a:pt x="50" y="24"/>
                  </a:cubicBezTo>
                  <a:lnTo>
                    <a:pt x="18" y="24"/>
                  </a:lnTo>
                  <a:cubicBezTo>
                    <a:pt x="8" y="24"/>
                    <a:pt x="0" y="32"/>
                    <a:pt x="0" y="43"/>
                  </a:cubicBezTo>
                  <a:lnTo>
                    <a:pt x="0" y="280"/>
                  </a:lnTo>
                  <a:cubicBezTo>
                    <a:pt x="0" y="291"/>
                    <a:pt x="8" y="299"/>
                    <a:pt x="18" y="299"/>
                  </a:cubicBezTo>
                  <a:lnTo>
                    <a:pt x="206" y="299"/>
                  </a:lnTo>
                  <a:cubicBezTo>
                    <a:pt x="216" y="299"/>
                    <a:pt x="225" y="291"/>
                    <a:pt x="225" y="280"/>
                  </a:cubicBezTo>
                  <a:lnTo>
                    <a:pt x="225" y="43"/>
                  </a:lnTo>
                  <a:cubicBezTo>
                    <a:pt x="225" y="32"/>
                    <a:pt x="216" y="24"/>
                    <a:pt x="206" y="24"/>
                  </a:cubicBezTo>
                  <a:close/>
                  <a:moveTo>
                    <a:pt x="62" y="36"/>
                  </a:moveTo>
                  <a:cubicBezTo>
                    <a:pt x="62" y="29"/>
                    <a:pt x="67" y="24"/>
                    <a:pt x="74" y="24"/>
                  </a:cubicBez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cubicBezTo>
                    <a:pt x="104" y="24"/>
                    <a:pt x="107" y="21"/>
                    <a:pt x="107" y="18"/>
                  </a:cubicBezTo>
                  <a:cubicBezTo>
                    <a:pt x="107" y="15"/>
                    <a:pt x="109" y="12"/>
                    <a:pt x="112" y="12"/>
                  </a:cubicBezTo>
                  <a:cubicBezTo>
                    <a:pt x="115" y="12"/>
                    <a:pt x="117" y="15"/>
                    <a:pt x="117" y="18"/>
                  </a:cubicBezTo>
                  <a:cubicBezTo>
                    <a:pt x="117" y="21"/>
                    <a:pt x="120" y="24"/>
                    <a:pt x="124" y="24"/>
                  </a:cubicBezTo>
                  <a:lnTo>
                    <a:pt x="124" y="24"/>
                  </a:lnTo>
                  <a:lnTo>
                    <a:pt x="124" y="24"/>
                  </a:lnTo>
                  <a:lnTo>
                    <a:pt x="150" y="24"/>
                  </a:lnTo>
                  <a:cubicBezTo>
                    <a:pt x="157" y="24"/>
                    <a:pt x="162" y="29"/>
                    <a:pt x="162" y="36"/>
                  </a:cubicBezTo>
                  <a:lnTo>
                    <a:pt x="162" y="49"/>
                  </a:lnTo>
                  <a:lnTo>
                    <a:pt x="62" y="49"/>
                  </a:lnTo>
                  <a:lnTo>
                    <a:pt x="62" y="36"/>
                  </a:lnTo>
                  <a:close/>
                  <a:moveTo>
                    <a:pt x="212" y="280"/>
                  </a:moveTo>
                  <a:cubicBezTo>
                    <a:pt x="212" y="284"/>
                    <a:pt x="209" y="287"/>
                    <a:pt x="206" y="287"/>
                  </a:cubicBezTo>
                  <a:lnTo>
                    <a:pt x="18" y="287"/>
                  </a:lnTo>
                  <a:cubicBezTo>
                    <a:pt x="15" y="287"/>
                    <a:pt x="12" y="284"/>
                    <a:pt x="12" y="280"/>
                  </a:cubicBezTo>
                  <a:lnTo>
                    <a:pt x="12" y="43"/>
                  </a:lnTo>
                  <a:cubicBezTo>
                    <a:pt x="12" y="39"/>
                    <a:pt x="15" y="37"/>
                    <a:pt x="18" y="37"/>
                  </a:cubicBezTo>
                  <a:lnTo>
                    <a:pt x="50" y="37"/>
                  </a:lnTo>
                  <a:lnTo>
                    <a:pt x="50" y="55"/>
                  </a:lnTo>
                  <a:cubicBezTo>
                    <a:pt x="50" y="59"/>
                    <a:pt x="52" y="62"/>
                    <a:pt x="56" y="62"/>
                  </a:cubicBezTo>
                  <a:lnTo>
                    <a:pt x="168" y="62"/>
                  </a:lnTo>
                  <a:cubicBezTo>
                    <a:pt x="172" y="62"/>
                    <a:pt x="175" y="59"/>
                    <a:pt x="175" y="55"/>
                  </a:cubicBezTo>
                  <a:lnTo>
                    <a:pt x="175" y="37"/>
                  </a:lnTo>
                  <a:lnTo>
                    <a:pt x="206" y="37"/>
                  </a:lnTo>
                  <a:cubicBezTo>
                    <a:pt x="209" y="37"/>
                    <a:pt x="212" y="39"/>
                    <a:pt x="212" y="43"/>
                  </a:cubicBezTo>
                  <a:lnTo>
                    <a:pt x="212" y="2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5" name="POWER_USER_ID_ICONS_Clipboard3">
              <a:extLst>
                <a:ext uri="{FF2B5EF4-FFF2-40B4-BE49-F238E27FC236}">
                  <a16:creationId xmlns:a16="http://schemas.microsoft.com/office/drawing/2014/main" id="{D31AB89E-31E6-44AE-A0BC-DDED30ED12B5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25" y="245"/>
              <a:ext cx="201" cy="17"/>
            </a:xfrm>
            <a:custGeom>
              <a:avLst/>
              <a:gdLst>
                <a:gd name="T0" fmla="*/ 132 w 138"/>
                <a:gd name="T1" fmla="*/ 12 h 12"/>
                <a:gd name="T2" fmla="*/ 7 w 138"/>
                <a:gd name="T3" fmla="*/ 12 h 12"/>
                <a:gd name="T4" fmla="*/ 0 w 138"/>
                <a:gd name="T5" fmla="*/ 6 h 12"/>
                <a:gd name="T6" fmla="*/ 7 w 138"/>
                <a:gd name="T7" fmla="*/ 0 h 12"/>
                <a:gd name="T8" fmla="*/ 132 w 138"/>
                <a:gd name="T9" fmla="*/ 0 h 12"/>
                <a:gd name="T10" fmla="*/ 138 w 138"/>
                <a:gd name="T11" fmla="*/ 6 h 12"/>
                <a:gd name="T12" fmla="*/ 132 w 13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2">
                  <a:moveTo>
                    <a:pt x="132" y="12"/>
                  </a:moveTo>
                  <a:lnTo>
                    <a:pt x="7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lnTo>
                    <a:pt x="132" y="0"/>
                  </a:lnTo>
                  <a:cubicBezTo>
                    <a:pt x="135" y="0"/>
                    <a:pt x="138" y="2"/>
                    <a:pt x="138" y="6"/>
                  </a:cubicBezTo>
                  <a:cubicBezTo>
                    <a:pt x="138" y="9"/>
                    <a:pt x="135" y="12"/>
                    <a:pt x="132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6" name="POWER_USER_ID_ICONS_Clipboard3">
              <a:extLst>
                <a:ext uri="{FF2B5EF4-FFF2-40B4-BE49-F238E27FC236}">
                  <a16:creationId xmlns:a16="http://schemas.microsoft.com/office/drawing/2014/main" id="{5F477726-D72D-4271-9965-EAA90638DB49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125" y="299"/>
              <a:ext cx="201" cy="19"/>
            </a:xfrm>
            <a:custGeom>
              <a:avLst/>
              <a:gdLst>
                <a:gd name="T0" fmla="*/ 132 w 138"/>
                <a:gd name="T1" fmla="*/ 13 h 13"/>
                <a:gd name="T2" fmla="*/ 7 w 138"/>
                <a:gd name="T3" fmla="*/ 13 h 13"/>
                <a:gd name="T4" fmla="*/ 0 w 138"/>
                <a:gd name="T5" fmla="*/ 6 h 13"/>
                <a:gd name="T6" fmla="*/ 7 w 138"/>
                <a:gd name="T7" fmla="*/ 0 h 13"/>
                <a:gd name="T8" fmla="*/ 132 w 138"/>
                <a:gd name="T9" fmla="*/ 0 h 13"/>
                <a:gd name="T10" fmla="*/ 138 w 138"/>
                <a:gd name="T11" fmla="*/ 6 h 13"/>
                <a:gd name="T12" fmla="*/ 132 w 138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3">
                  <a:moveTo>
                    <a:pt x="132" y="13"/>
                  </a:moveTo>
                  <a:lnTo>
                    <a:pt x="7" y="13"/>
                  </a:ln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132" y="0"/>
                  </a:lnTo>
                  <a:cubicBezTo>
                    <a:pt x="135" y="0"/>
                    <a:pt x="138" y="3"/>
                    <a:pt x="138" y="6"/>
                  </a:cubicBezTo>
                  <a:cubicBezTo>
                    <a:pt x="138" y="10"/>
                    <a:pt x="135" y="13"/>
                    <a:pt x="132" y="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7" name="POWER_USER_ID_ICONS_Clipboard3">
              <a:extLst>
                <a:ext uri="{FF2B5EF4-FFF2-40B4-BE49-F238E27FC236}">
                  <a16:creationId xmlns:a16="http://schemas.microsoft.com/office/drawing/2014/main" id="{1923B551-4BB6-4482-BD99-69F51C1F6907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25" y="354"/>
              <a:ext cx="109" cy="17"/>
            </a:xfrm>
            <a:custGeom>
              <a:avLst/>
              <a:gdLst>
                <a:gd name="T0" fmla="*/ 69 w 75"/>
                <a:gd name="T1" fmla="*/ 12 h 12"/>
                <a:gd name="T2" fmla="*/ 7 w 75"/>
                <a:gd name="T3" fmla="*/ 12 h 12"/>
                <a:gd name="T4" fmla="*/ 0 w 75"/>
                <a:gd name="T5" fmla="*/ 6 h 12"/>
                <a:gd name="T6" fmla="*/ 7 w 75"/>
                <a:gd name="T7" fmla="*/ 0 h 12"/>
                <a:gd name="T8" fmla="*/ 69 w 75"/>
                <a:gd name="T9" fmla="*/ 0 h 12"/>
                <a:gd name="T10" fmla="*/ 75 w 75"/>
                <a:gd name="T11" fmla="*/ 6 h 12"/>
                <a:gd name="T12" fmla="*/ 69 w 7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2">
                  <a:moveTo>
                    <a:pt x="69" y="12"/>
                  </a:moveTo>
                  <a:lnTo>
                    <a:pt x="7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lnTo>
                    <a:pt x="69" y="0"/>
                  </a:lnTo>
                  <a:cubicBezTo>
                    <a:pt x="72" y="0"/>
                    <a:pt x="75" y="2"/>
                    <a:pt x="75" y="6"/>
                  </a:cubicBezTo>
                  <a:cubicBezTo>
                    <a:pt x="75" y="9"/>
                    <a:pt x="72" y="12"/>
                    <a:pt x="69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68" name="POWER_USER_ID_ICONS_Stopwatch5">
            <a:extLst>
              <a:ext uri="{FF2B5EF4-FFF2-40B4-BE49-F238E27FC236}">
                <a16:creationId xmlns:a16="http://schemas.microsoft.com/office/drawing/2014/main" id="{20604AA2-2B11-4C62-B4DC-3CD2539D11EE}"/>
              </a:ext>
            </a:extLst>
          </p:cNvPr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2633180" y="4808954"/>
            <a:ext cx="540299" cy="400751"/>
          </a:xfrm>
          <a:custGeom>
            <a:avLst/>
            <a:gdLst>
              <a:gd name="T0" fmla="*/ 652 w 982"/>
              <a:gd name="T1" fmla="*/ 23 h 728"/>
              <a:gd name="T2" fmla="*/ 543 w 982"/>
              <a:gd name="T3" fmla="*/ 59 h 728"/>
              <a:gd name="T4" fmla="*/ 386 w 982"/>
              <a:gd name="T5" fmla="*/ 220 h 728"/>
              <a:gd name="T6" fmla="*/ 173 w 982"/>
              <a:gd name="T7" fmla="*/ 285 h 728"/>
              <a:gd name="T8" fmla="*/ 0 w 982"/>
              <a:gd name="T9" fmla="*/ 610 h 728"/>
              <a:gd name="T10" fmla="*/ 352 w 982"/>
              <a:gd name="T11" fmla="*/ 641 h 728"/>
              <a:gd name="T12" fmla="*/ 590 w 982"/>
              <a:gd name="T13" fmla="*/ 693 h 728"/>
              <a:gd name="T14" fmla="*/ 705 w 982"/>
              <a:gd name="T15" fmla="*/ 726 h 728"/>
              <a:gd name="T16" fmla="*/ 738 w 982"/>
              <a:gd name="T17" fmla="*/ 638 h 728"/>
              <a:gd name="T18" fmla="*/ 821 w 982"/>
              <a:gd name="T19" fmla="*/ 637 h 728"/>
              <a:gd name="T20" fmla="*/ 858 w 982"/>
              <a:gd name="T21" fmla="*/ 548 h 728"/>
              <a:gd name="T22" fmla="*/ 715 w 982"/>
              <a:gd name="T23" fmla="*/ 600 h 728"/>
              <a:gd name="T24" fmla="*/ 585 w 982"/>
              <a:gd name="T25" fmla="*/ 218 h 728"/>
              <a:gd name="T26" fmla="*/ 628 w 982"/>
              <a:gd name="T27" fmla="*/ 133 h 728"/>
              <a:gd name="T28" fmla="*/ 660 w 982"/>
              <a:gd name="T29" fmla="*/ 86 h 728"/>
              <a:gd name="T30" fmla="*/ 733 w 982"/>
              <a:gd name="T31" fmla="*/ 26 h 728"/>
              <a:gd name="T32" fmla="*/ 669 w 982"/>
              <a:gd name="T33" fmla="*/ 89 h 728"/>
              <a:gd name="T34" fmla="*/ 620 w 982"/>
              <a:gd name="T35" fmla="*/ 151 h 728"/>
              <a:gd name="T36" fmla="*/ 607 w 982"/>
              <a:gd name="T37" fmla="*/ 232 h 728"/>
              <a:gd name="T38" fmla="*/ 533 w 982"/>
              <a:gd name="T39" fmla="*/ 439 h 728"/>
              <a:gd name="T40" fmla="*/ 690 w 982"/>
              <a:gd name="T41" fmla="*/ 235 h 728"/>
              <a:gd name="T42" fmla="*/ 854 w 982"/>
              <a:gd name="T43" fmla="*/ 398 h 728"/>
              <a:gd name="T44" fmla="*/ 881 w 982"/>
              <a:gd name="T45" fmla="*/ 399 h 728"/>
              <a:gd name="T46" fmla="*/ 714 w 982"/>
              <a:gd name="T47" fmla="*/ 200 h 728"/>
              <a:gd name="T48" fmla="*/ 732 w 982"/>
              <a:gd name="T49" fmla="*/ 172 h 728"/>
              <a:gd name="T50" fmla="*/ 724 w 982"/>
              <a:gd name="T51" fmla="*/ 148 h 728"/>
              <a:gd name="T52" fmla="*/ 668 w 982"/>
              <a:gd name="T53" fmla="*/ 154 h 728"/>
              <a:gd name="T54" fmla="*/ 645 w 982"/>
              <a:gd name="T55" fmla="*/ 147 h 728"/>
              <a:gd name="T56" fmla="*/ 697 w 982"/>
              <a:gd name="T57" fmla="*/ 373 h 728"/>
              <a:gd name="T58" fmla="*/ 693 w 982"/>
              <a:gd name="T59" fmla="*/ 422 h 728"/>
              <a:gd name="T60" fmla="*/ 710 w 982"/>
              <a:gd name="T61" fmla="*/ 384 h 728"/>
              <a:gd name="T62" fmla="*/ 891 w 982"/>
              <a:gd name="T63" fmla="*/ 277 h 728"/>
              <a:gd name="T64" fmla="*/ 890 w 982"/>
              <a:gd name="T65" fmla="*/ 390 h 728"/>
              <a:gd name="T66" fmla="*/ 979 w 982"/>
              <a:gd name="T67" fmla="*/ 358 h 728"/>
              <a:gd name="T68" fmla="*/ 903 w 982"/>
              <a:gd name="T69" fmla="*/ 279 h 728"/>
              <a:gd name="T70" fmla="*/ 891 w 982"/>
              <a:gd name="T71" fmla="*/ 430 h 728"/>
              <a:gd name="T72" fmla="*/ 845 w 982"/>
              <a:gd name="T73" fmla="*/ 524 h 728"/>
              <a:gd name="T74" fmla="*/ 970 w 982"/>
              <a:gd name="T75" fmla="*/ 513 h 728"/>
              <a:gd name="T76" fmla="*/ 894 w 982"/>
              <a:gd name="T77" fmla="*/ 430 h 728"/>
              <a:gd name="T78" fmla="*/ 823 w 982"/>
              <a:gd name="T79" fmla="*/ 532 h 728"/>
              <a:gd name="T80" fmla="*/ 752 w 982"/>
              <a:gd name="T81" fmla="*/ 546 h 728"/>
              <a:gd name="T82" fmla="*/ 688 w 982"/>
              <a:gd name="T83" fmla="*/ 558 h 728"/>
              <a:gd name="T84" fmla="*/ 752 w 982"/>
              <a:gd name="T85" fmla="*/ 546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82" h="728">
                <a:moveTo>
                  <a:pt x="715" y="0"/>
                </a:moveTo>
                <a:cubicBezTo>
                  <a:pt x="703" y="0"/>
                  <a:pt x="692" y="7"/>
                  <a:pt x="681" y="11"/>
                </a:cubicBezTo>
                <a:cubicBezTo>
                  <a:pt x="671" y="14"/>
                  <a:pt x="662" y="20"/>
                  <a:pt x="652" y="23"/>
                </a:cubicBezTo>
                <a:cubicBezTo>
                  <a:pt x="635" y="22"/>
                  <a:pt x="617" y="22"/>
                  <a:pt x="600" y="22"/>
                </a:cubicBezTo>
                <a:cubicBezTo>
                  <a:pt x="590" y="22"/>
                  <a:pt x="581" y="25"/>
                  <a:pt x="572" y="29"/>
                </a:cubicBezTo>
                <a:cubicBezTo>
                  <a:pt x="560" y="35"/>
                  <a:pt x="551" y="48"/>
                  <a:pt x="543" y="59"/>
                </a:cubicBezTo>
                <a:cubicBezTo>
                  <a:pt x="524" y="76"/>
                  <a:pt x="508" y="96"/>
                  <a:pt x="492" y="115"/>
                </a:cubicBezTo>
                <a:cubicBezTo>
                  <a:pt x="479" y="131"/>
                  <a:pt x="464" y="144"/>
                  <a:pt x="449" y="158"/>
                </a:cubicBezTo>
                <a:cubicBezTo>
                  <a:pt x="429" y="179"/>
                  <a:pt x="409" y="200"/>
                  <a:pt x="386" y="220"/>
                </a:cubicBezTo>
                <a:cubicBezTo>
                  <a:pt x="368" y="237"/>
                  <a:pt x="350" y="254"/>
                  <a:pt x="331" y="270"/>
                </a:cubicBezTo>
                <a:cubicBezTo>
                  <a:pt x="309" y="286"/>
                  <a:pt x="280" y="290"/>
                  <a:pt x="253" y="289"/>
                </a:cubicBezTo>
                <a:cubicBezTo>
                  <a:pt x="226" y="285"/>
                  <a:pt x="200" y="289"/>
                  <a:pt x="173" y="285"/>
                </a:cubicBezTo>
                <a:cubicBezTo>
                  <a:pt x="157" y="284"/>
                  <a:pt x="140" y="286"/>
                  <a:pt x="123" y="284"/>
                </a:cubicBezTo>
                <a:cubicBezTo>
                  <a:pt x="82" y="280"/>
                  <a:pt x="41" y="278"/>
                  <a:pt x="0" y="274"/>
                </a:cubicBezTo>
                <a:lnTo>
                  <a:pt x="0" y="610"/>
                </a:lnTo>
                <a:cubicBezTo>
                  <a:pt x="48" y="606"/>
                  <a:pt x="95" y="597"/>
                  <a:pt x="142" y="594"/>
                </a:cubicBezTo>
                <a:cubicBezTo>
                  <a:pt x="183" y="590"/>
                  <a:pt x="225" y="593"/>
                  <a:pt x="265" y="602"/>
                </a:cubicBezTo>
                <a:cubicBezTo>
                  <a:pt x="297" y="609"/>
                  <a:pt x="325" y="624"/>
                  <a:pt x="352" y="641"/>
                </a:cubicBezTo>
                <a:cubicBezTo>
                  <a:pt x="373" y="655"/>
                  <a:pt x="398" y="665"/>
                  <a:pt x="424" y="670"/>
                </a:cubicBezTo>
                <a:cubicBezTo>
                  <a:pt x="464" y="677"/>
                  <a:pt x="504" y="678"/>
                  <a:pt x="544" y="686"/>
                </a:cubicBezTo>
                <a:cubicBezTo>
                  <a:pt x="559" y="689"/>
                  <a:pt x="575" y="688"/>
                  <a:pt x="590" y="693"/>
                </a:cubicBezTo>
                <a:cubicBezTo>
                  <a:pt x="604" y="698"/>
                  <a:pt x="620" y="700"/>
                  <a:pt x="633" y="707"/>
                </a:cubicBezTo>
                <a:cubicBezTo>
                  <a:pt x="646" y="713"/>
                  <a:pt x="660" y="716"/>
                  <a:pt x="672" y="722"/>
                </a:cubicBezTo>
                <a:cubicBezTo>
                  <a:pt x="683" y="728"/>
                  <a:pt x="694" y="726"/>
                  <a:pt x="705" y="726"/>
                </a:cubicBezTo>
                <a:cubicBezTo>
                  <a:pt x="715" y="726"/>
                  <a:pt x="726" y="727"/>
                  <a:pt x="736" y="723"/>
                </a:cubicBezTo>
                <a:cubicBezTo>
                  <a:pt x="754" y="714"/>
                  <a:pt x="766" y="694"/>
                  <a:pt x="763" y="673"/>
                </a:cubicBezTo>
                <a:cubicBezTo>
                  <a:pt x="759" y="658"/>
                  <a:pt x="746" y="650"/>
                  <a:pt x="738" y="638"/>
                </a:cubicBezTo>
                <a:cubicBezTo>
                  <a:pt x="730" y="626"/>
                  <a:pt x="722" y="616"/>
                  <a:pt x="715" y="605"/>
                </a:cubicBezTo>
                <a:cubicBezTo>
                  <a:pt x="719" y="605"/>
                  <a:pt x="724" y="605"/>
                  <a:pt x="728" y="607"/>
                </a:cubicBezTo>
                <a:cubicBezTo>
                  <a:pt x="759" y="618"/>
                  <a:pt x="790" y="627"/>
                  <a:pt x="821" y="637"/>
                </a:cubicBezTo>
                <a:cubicBezTo>
                  <a:pt x="835" y="644"/>
                  <a:pt x="852" y="641"/>
                  <a:pt x="864" y="633"/>
                </a:cubicBezTo>
                <a:cubicBezTo>
                  <a:pt x="880" y="621"/>
                  <a:pt x="891" y="601"/>
                  <a:pt x="887" y="581"/>
                </a:cubicBezTo>
                <a:cubicBezTo>
                  <a:pt x="884" y="566"/>
                  <a:pt x="872" y="553"/>
                  <a:pt x="858" y="548"/>
                </a:cubicBezTo>
                <a:cubicBezTo>
                  <a:pt x="849" y="544"/>
                  <a:pt x="839" y="549"/>
                  <a:pt x="830" y="545"/>
                </a:cubicBezTo>
                <a:cubicBezTo>
                  <a:pt x="790" y="531"/>
                  <a:pt x="755" y="540"/>
                  <a:pt x="760" y="594"/>
                </a:cubicBezTo>
                <a:cubicBezTo>
                  <a:pt x="746" y="599"/>
                  <a:pt x="730" y="605"/>
                  <a:pt x="715" y="600"/>
                </a:cubicBezTo>
                <a:cubicBezTo>
                  <a:pt x="707" y="601"/>
                  <a:pt x="703" y="594"/>
                  <a:pt x="699" y="589"/>
                </a:cubicBezTo>
                <a:cubicBezTo>
                  <a:pt x="685" y="568"/>
                  <a:pt x="648" y="571"/>
                  <a:pt x="632" y="595"/>
                </a:cubicBezTo>
                <a:cubicBezTo>
                  <a:pt x="511" y="579"/>
                  <a:pt x="373" y="348"/>
                  <a:pt x="585" y="218"/>
                </a:cubicBezTo>
                <a:cubicBezTo>
                  <a:pt x="582" y="209"/>
                  <a:pt x="576" y="198"/>
                  <a:pt x="579" y="188"/>
                </a:cubicBezTo>
                <a:cubicBezTo>
                  <a:pt x="592" y="176"/>
                  <a:pt x="605" y="164"/>
                  <a:pt x="613" y="149"/>
                </a:cubicBezTo>
                <a:cubicBezTo>
                  <a:pt x="616" y="142"/>
                  <a:pt x="622" y="137"/>
                  <a:pt x="628" y="133"/>
                </a:cubicBezTo>
                <a:cubicBezTo>
                  <a:pt x="629" y="127"/>
                  <a:pt x="629" y="121"/>
                  <a:pt x="628" y="116"/>
                </a:cubicBezTo>
                <a:cubicBezTo>
                  <a:pt x="632" y="116"/>
                  <a:pt x="636" y="112"/>
                  <a:pt x="640" y="111"/>
                </a:cubicBezTo>
                <a:cubicBezTo>
                  <a:pt x="651" y="107"/>
                  <a:pt x="663" y="99"/>
                  <a:pt x="660" y="86"/>
                </a:cubicBezTo>
                <a:cubicBezTo>
                  <a:pt x="667" y="83"/>
                  <a:pt x="673" y="76"/>
                  <a:pt x="681" y="77"/>
                </a:cubicBezTo>
                <a:cubicBezTo>
                  <a:pt x="692" y="79"/>
                  <a:pt x="706" y="80"/>
                  <a:pt x="714" y="70"/>
                </a:cubicBezTo>
                <a:cubicBezTo>
                  <a:pt x="724" y="57"/>
                  <a:pt x="734" y="43"/>
                  <a:pt x="733" y="26"/>
                </a:cubicBezTo>
                <a:cubicBezTo>
                  <a:pt x="733" y="16"/>
                  <a:pt x="728" y="3"/>
                  <a:pt x="717" y="0"/>
                </a:cubicBezTo>
                <a:cubicBezTo>
                  <a:pt x="716" y="0"/>
                  <a:pt x="715" y="0"/>
                  <a:pt x="715" y="0"/>
                </a:cubicBezTo>
                <a:close/>
                <a:moveTo>
                  <a:pt x="669" y="89"/>
                </a:moveTo>
                <a:cubicBezTo>
                  <a:pt x="665" y="115"/>
                  <a:pt x="649" y="117"/>
                  <a:pt x="637" y="120"/>
                </a:cubicBezTo>
                <a:cubicBezTo>
                  <a:pt x="637" y="130"/>
                  <a:pt x="640" y="133"/>
                  <a:pt x="634" y="137"/>
                </a:cubicBezTo>
                <a:cubicBezTo>
                  <a:pt x="626" y="145"/>
                  <a:pt x="625" y="145"/>
                  <a:pt x="620" y="151"/>
                </a:cubicBezTo>
                <a:cubicBezTo>
                  <a:pt x="622" y="169"/>
                  <a:pt x="644" y="196"/>
                  <a:pt x="671" y="196"/>
                </a:cubicBezTo>
                <a:cubicBezTo>
                  <a:pt x="676" y="199"/>
                  <a:pt x="676" y="207"/>
                  <a:pt x="673" y="212"/>
                </a:cubicBezTo>
                <a:cubicBezTo>
                  <a:pt x="650" y="216"/>
                  <a:pt x="628" y="222"/>
                  <a:pt x="607" y="232"/>
                </a:cubicBezTo>
                <a:cubicBezTo>
                  <a:pt x="451" y="301"/>
                  <a:pt x="479" y="518"/>
                  <a:pt x="632" y="574"/>
                </a:cubicBezTo>
                <a:cubicBezTo>
                  <a:pt x="636" y="567"/>
                  <a:pt x="645" y="558"/>
                  <a:pt x="656" y="554"/>
                </a:cubicBezTo>
                <a:cubicBezTo>
                  <a:pt x="596" y="541"/>
                  <a:pt x="549" y="496"/>
                  <a:pt x="533" y="439"/>
                </a:cubicBezTo>
                <a:cubicBezTo>
                  <a:pt x="533" y="438"/>
                  <a:pt x="533" y="438"/>
                  <a:pt x="533" y="438"/>
                </a:cubicBezTo>
                <a:cubicBezTo>
                  <a:pt x="529" y="424"/>
                  <a:pt x="527" y="410"/>
                  <a:pt x="527" y="395"/>
                </a:cubicBezTo>
                <a:cubicBezTo>
                  <a:pt x="527" y="307"/>
                  <a:pt x="600" y="235"/>
                  <a:pt x="690" y="235"/>
                </a:cubicBezTo>
                <a:cubicBezTo>
                  <a:pt x="771" y="235"/>
                  <a:pt x="838" y="291"/>
                  <a:pt x="851" y="367"/>
                </a:cubicBezTo>
                <a:cubicBezTo>
                  <a:pt x="853" y="376"/>
                  <a:pt x="854" y="385"/>
                  <a:pt x="854" y="394"/>
                </a:cubicBezTo>
                <a:lnTo>
                  <a:pt x="854" y="398"/>
                </a:lnTo>
                <a:cubicBezTo>
                  <a:pt x="854" y="414"/>
                  <a:pt x="852" y="430"/>
                  <a:pt x="847" y="445"/>
                </a:cubicBezTo>
                <a:cubicBezTo>
                  <a:pt x="854" y="438"/>
                  <a:pt x="864" y="434"/>
                  <a:pt x="878" y="435"/>
                </a:cubicBezTo>
                <a:cubicBezTo>
                  <a:pt x="880" y="423"/>
                  <a:pt x="880" y="411"/>
                  <a:pt x="881" y="399"/>
                </a:cubicBezTo>
                <a:cubicBezTo>
                  <a:pt x="859" y="381"/>
                  <a:pt x="845" y="347"/>
                  <a:pt x="863" y="320"/>
                </a:cubicBezTo>
                <a:cubicBezTo>
                  <a:pt x="840" y="270"/>
                  <a:pt x="773" y="222"/>
                  <a:pt x="714" y="213"/>
                </a:cubicBezTo>
                <a:cubicBezTo>
                  <a:pt x="713" y="209"/>
                  <a:pt x="713" y="204"/>
                  <a:pt x="714" y="200"/>
                </a:cubicBezTo>
                <a:cubicBezTo>
                  <a:pt x="790" y="177"/>
                  <a:pt x="770" y="90"/>
                  <a:pt x="669" y="89"/>
                </a:cubicBezTo>
                <a:close/>
                <a:moveTo>
                  <a:pt x="723" y="118"/>
                </a:moveTo>
                <a:cubicBezTo>
                  <a:pt x="738" y="123"/>
                  <a:pt x="755" y="148"/>
                  <a:pt x="732" y="172"/>
                </a:cubicBezTo>
                <a:cubicBezTo>
                  <a:pt x="728" y="176"/>
                  <a:pt x="720" y="181"/>
                  <a:pt x="714" y="181"/>
                </a:cubicBezTo>
                <a:cubicBezTo>
                  <a:pt x="714" y="175"/>
                  <a:pt x="713" y="168"/>
                  <a:pt x="715" y="162"/>
                </a:cubicBezTo>
                <a:cubicBezTo>
                  <a:pt x="718" y="157"/>
                  <a:pt x="724" y="154"/>
                  <a:pt x="724" y="148"/>
                </a:cubicBezTo>
                <a:cubicBezTo>
                  <a:pt x="725" y="138"/>
                  <a:pt x="723" y="128"/>
                  <a:pt x="723" y="118"/>
                </a:cubicBezTo>
                <a:close/>
                <a:moveTo>
                  <a:pt x="667" y="131"/>
                </a:moveTo>
                <a:cubicBezTo>
                  <a:pt x="668" y="137"/>
                  <a:pt x="666" y="148"/>
                  <a:pt x="668" y="154"/>
                </a:cubicBezTo>
                <a:cubicBezTo>
                  <a:pt x="669" y="160"/>
                  <a:pt x="671" y="160"/>
                  <a:pt x="674" y="164"/>
                </a:cubicBezTo>
                <a:cubicBezTo>
                  <a:pt x="674" y="170"/>
                  <a:pt x="674" y="176"/>
                  <a:pt x="674" y="182"/>
                </a:cubicBezTo>
                <a:cubicBezTo>
                  <a:pt x="657" y="179"/>
                  <a:pt x="644" y="163"/>
                  <a:pt x="645" y="147"/>
                </a:cubicBezTo>
                <a:cubicBezTo>
                  <a:pt x="650" y="142"/>
                  <a:pt x="661" y="133"/>
                  <a:pt x="667" y="131"/>
                </a:cubicBezTo>
                <a:close/>
                <a:moveTo>
                  <a:pt x="762" y="267"/>
                </a:moveTo>
                <a:lnTo>
                  <a:pt x="697" y="373"/>
                </a:lnTo>
                <a:cubicBezTo>
                  <a:pt x="697" y="373"/>
                  <a:pt x="697" y="373"/>
                  <a:pt x="693" y="373"/>
                </a:cubicBezTo>
                <a:cubicBezTo>
                  <a:pt x="681" y="373"/>
                  <a:pt x="670" y="384"/>
                  <a:pt x="670" y="398"/>
                </a:cubicBezTo>
                <a:cubicBezTo>
                  <a:pt x="670" y="411"/>
                  <a:pt x="681" y="422"/>
                  <a:pt x="693" y="422"/>
                </a:cubicBezTo>
                <a:cubicBezTo>
                  <a:pt x="705" y="422"/>
                  <a:pt x="716" y="411"/>
                  <a:pt x="716" y="398"/>
                </a:cubicBezTo>
                <a:lnTo>
                  <a:pt x="716" y="397"/>
                </a:lnTo>
                <a:cubicBezTo>
                  <a:pt x="715" y="390"/>
                  <a:pt x="710" y="384"/>
                  <a:pt x="710" y="384"/>
                </a:cubicBezTo>
                <a:lnTo>
                  <a:pt x="766" y="270"/>
                </a:lnTo>
                <a:lnTo>
                  <a:pt x="762" y="267"/>
                </a:lnTo>
                <a:close/>
                <a:moveTo>
                  <a:pt x="891" y="277"/>
                </a:moveTo>
                <a:cubicBezTo>
                  <a:pt x="880" y="277"/>
                  <a:pt x="866" y="279"/>
                  <a:pt x="853" y="284"/>
                </a:cubicBezTo>
                <a:cubicBezTo>
                  <a:pt x="852" y="289"/>
                  <a:pt x="875" y="312"/>
                  <a:pt x="878" y="316"/>
                </a:cubicBezTo>
                <a:cubicBezTo>
                  <a:pt x="863" y="348"/>
                  <a:pt x="859" y="364"/>
                  <a:pt x="890" y="390"/>
                </a:cubicBezTo>
                <a:cubicBezTo>
                  <a:pt x="894" y="396"/>
                  <a:pt x="903" y="399"/>
                  <a:pt x="912" y="399"/>
                </a:cubicBezTo>
                <a:cubicBezTo>
                  <a:pt x="928" y="399"/>
                  <a:pt x="942" y="391"/>
                  <a:pt x="956" y="387"/>
                </a:cubicBezTo>
                <a:cubicBezTo>
                  <a:pt x="969" y="383"/>
                  <a:pt x="978" y="371"/>
                  <a:pt x="979" y="358"/>
                </a:cubicBezTo>
                <a:cubicBezTo>
                  <a:pt x="981" y="345"/>
                  <a:pt x="982" y="329"/>
                  <a:pt x="972" y="318"/>
                </a:cubicBezTo>
                <a:cubicBezTo>
                  <a:pt x="962" y="309"/>
                  <a:pt x="953" y="298"/>
                  <a:pt x="940" y="293"/>
                </a:cubicBezTo>
                <a:cubicBezTo>
                  <a:pt x="928" y="288"/>
                  <a:pt x="916" y="282"/>
                  <a:pt x="903" y="279"/>
                </a:cubicBezTo>
                <a:cubicBezTo>
                  <a:pt x="900" y="278"/>
                  <a:pt x="896" y="277"/>
                  <a:pt x="891" y="277"/>
                </a:cubicBezTo>
                <a:close/>
                <a:moveTo>
                  <a:pt x="894" y="430"/>
                </a:moveTo>
                <a:cubicBezTo>
                  <a:pt x="893" y="430"/>
                  <a:pt x="892" y="430"/>
                  <a:pt x="891" y="430"/>
                </a:cubicBezTo>
                <a:cubicBezTo>
                  <a:pt x="891" y="439"/>
                  <a:pt x="885" y="447"/>
                  <a:pt x="880" y="445"/>
                </a:cubicBezTo>
                <a:cubicBezTo>
                  <a:pt x="872" y="439"/>
                  <a:pt x="825" y="465"/>
                  <a:pt x="854" y="509"/>
                </a:cubicBezTo>
                <a:cubicBezTo>
                  <a:pt x="854" y="512"/>
                  <a:pt x="847" y="521"/>
                  <a:pt x="845" y="524"/>
                </a:cubicBezTo>
                <a:cubicBezTo>
                  <a:pt x="858" y="524"/>
                  <a:pt x="883" y="534"/>
                  <a:pt x="895" y="540"/>
                </a:cubicBezTo>
                <a:cubicBezTo>
                  <a:pt x="913" y="546"/>
                  <a:pt x="936" y="547"/>
                  <a:pt x="952" y="535"/>
                </a:cubicBezTo>
                <a:cubicBezTo>
                  <a:pt x="960" y="530"/>
                  <a:pt x="964" y="521"/>
                  <a:pt x="970" y="513"/>
                </a:cubicBezTo>
                <a:cubicBezTo>
                  <a:pt x="975" y="506"/>
                  <a:pt x="974" y="496"/>
                  <a:pt x="974" y="488"/>
                </a:cubicBezTo>
                <a:cubicBezTo>
                  <a:pt x="974" y="471"/>
                  <a:pt x="962" y="457"/>
                  <a:pt x="948" y="449"/>
                </a:cubicBezTo>
                <a:cubicBezTo>
                  <a:pt x="935" y="446"/>
                  <a:pt x="910" y="430"/>
                  <a:pt x="894" y="430"/>
                </a:cubicBezTo>
                <a:close/>
                <a:moveTo>
                  <a:pt x="834" y="474"/>
                </a:moveTo>
                <a:cubicBezTo>
                  <a:pt x="823" y="495"/>
                  <a:pt x="807" y="512"/>
                  <a:pt x="788" y="526"/>
                </a:cubicBezTo>
                <a:cubicBezTo>
                  <a:pt x="799" y="526"/>
                  <a:pt x="811" y="528"/>
                  <a:pt x="823" y="532"/>
                </a:cubicBezTo>
                <a:cubicBezTo>
                  <a:pt x="830" y="525"/>
                  <a:pt x="837" y="517"/>
                  <a:pt x="841" y="507"/>
                </a:cubicBezTo>
                <a:cubicBezTo>
                  <a:pt x="836" y="498"/>
                  <a:pt x="833" y="486"/>
                  <a:pt x="834" y="474"/>
                </a:cubicBezTo>
                <a:close/>
                <a:moveTo>
                  <a:pt x="752" y="546"/>
                </a:moveTo>
                <a:lnTo>
                  <a:pt x="752" y="546"/>
                </a:lnTo>
                <a:cubicBezTo>
                  <a:pt x="733" y="554"/>
                  <a:pt x="712" y="558"/>
                  <a:pt x="691" y="558"/>
                </a:cubicBezTo>
                <a:cubicBezTo>
                  <a:pt x="690" y="558"/>
                  <a:pt x="689" y="558"/>
                  <a:pt x="688" y="558"/>
                </a:cubicBezTo>
                <a:cubicBezTo>
                  <a:pt x="694" y="562"/>
                  <a:pt x="700" y="568"/>
                  <a:pt x="706" y="578"/>
                </a:cubicBezTo>
                <a:cubicBezTo>
                  <a:pt x="721" y="583"/>
                  <a:pt x="737" y="580"/>
                  <a:pt x="751" y="572"/>
                </a:cubicBezTo>
                <a:cubicBezTo>
                  <a:pt x="750" y="551"/>
                  <a:pt x="755" y="554"/>
                  <a:pt x="752" y="54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9" name="POWER_USER_ID_ICONS_Poll">
            <a:extLst>
              <a:ext uri="{FF2B5EF4-FFF2-40B4-BE49-F238E27FC236}">
                <a16:creationId xmlns:a16="http://schemas.microsoft.com/office/drawing/2014/main" id="{8F096A31-F318-4EBF-9234-DDFF3E55FB19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8475481" y="4505043"/>
            <a:ext cx="590233" cy="728187"/>
            <a:chOff x="74" y="35"/>
            <a:chExt cx="338" cy="417"/>
          </a:xfrm>
          <a:solidFill>
            <a:schemeClr val="tx2"/>
          </a:solidFill>
        </p:grpSpPr>
        <p:sp>
          <p:nvSpPr>
            <p:cNvPr id="70" name="POWER_USER_ID_ICONS_Poll">
              <a:extLst>
                <a:ext uri="{FF2B5EF4-FFF2-40B4-BE49-F238E27FC236}">
                  <a16:creationId xmlns:a16="http://schemas.microsoft.com/office/drawing/2014/main" id="{CF9E7836-35B9-49F6-9A48-1BBCFA068C0C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74" y="35"/>
              <a:ext cx="338" cy="339"/>
            </a:xfrm>
            <a:custGeom>
              <a:avLst/>
              <a:gdLst>
                <a:gd name="T0" fmla="*/ 900 w 900"/>
                <a:gd name="T1" fmla="*/ 900 h 900"/>
                <a:gd name="T2" fmla="*/ 0 w 900"/>
                <a:gd name="T3" fmla="*/ 900 h 900"/>
                <a:gd name="T4" fmla="*/ 0 w 900"/>
                <a:gd name="T5" fmla="*/ 0 h 900"/>
                <a:gd name="T6" fmla="*/ 15 w 900"/>
                <a:gd name="T7" fmla="*/ 0 h 900"/>
                <a:gd name="T8" fmla="*/ 15 w 900"/>
                <a:gd name="T9" fmla="*/ 885 h 900"/>
                <a:gd name="T10" fmla="*/ 900 w 900"/>
                <a:gd name="T11" fmla="*/ 885 h 900"/>
                <a:gd name="T12" fmla="*/ 900 w 900"/>
                <a:gd name="T13" fmla="*/ 900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0" h="900">
                  <a:moveTo>
                    <a:pt x="900" y="900"/>
                  </a:moveTo>
                  <a:lnTo>
                    <a:pt x="0" y="900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885"/>
                  </a:lnTo>
                  <a:lnTo>
                    <a:pt x="900" y="885"/>
                  </a:lnTo>
                  <a:lnTo>
                    <a:pt x="900" y="9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1" name="POWER_USER_ID_ICONS_Poll">
              <a:extLst>
                <a:ext uri="{FF2B5EF4-FFF2-40B4-BE49-F238E27FC236}">
                  <a16:creationId xmlns:a16="http://schemas.microsoft.com/office/drawing/2014/main" id="{3A36339D-26FA-4563-B056-9E3CFEA662D1}"/>
                </a:ext>
              </a:extLst>
            </p:cNvPr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113" y="84"/>
              <a:ext cx="64" cy="255"/>
            </a:xfrm>
            <a:custGeom>
              <a:avLst/>
              <a:gdLst>
                <a:gd name="T0" fmla="*/ 172 w 172"/>
                <a:gd name="T1" fmla="*/ 676 h 676"/>
                <a:gd name="T2" fmla="*/ 0 w 172"/>
                <a:gd name="T3" fmla="*/ 676 h 676"/>
                <a:gd name="T4" fmla="*/ 0 w 172"/>
                <a:gd name="T5" fmla="*/ 0 h 676"/>
                <a:gd name="T6" fmla="*/ 172 w 172"/>
                <a:gd name="T7" fmla="*/ 0 h 676"/>
                <a:gd name="T8" fmla="*/ 172 w 172"/>
                <a:gd name="T9" fmla="*/ 676 h 676"/>
                <a:gd name="T10" fmla="*/ 15 w 172"/>
                <a:gd name="T11" fmla="*/ 661 h 676"/>
                <a:gd name="T12" fmla="*/ 157 w 172"/>
                <a:gd name="T13" fmla="*/ 661 h 676"/>
                <a:gd name="T14" fmla="*/ 157 w 172"/>
                <a:gd name="T15" fmla="*/ 15 h 676"/>
                <a:gd name="T16" fmla="*/ 15 w 172"/>
                <a:gd name="T17" fmla="*/ 15 h 676"/>
                <a:gd name="T18" fmla="*/ 15 w 172"/>
                <a:gd name="T19" fmla="*/ 661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676">
                  <a:moveTo>
                    <a:pt x="172" y="676"/>
                  </a:moveTo>
                  <a:lnTo>
                    <a:pt x="0" y="676"/>
                  </a:lnTo>
                  <a:lnTo>
                    <a:pt x="0" y="0"/>
                  </a:lnTo>
                  <a:lnTo>
                    <a:pt x="172" y="0"/>
                  </a:lnTo>
                  <a:lnTo>
                    <a:pt x="172" y="676"/>
                  </a:lnTo>
                  <a:close/>
                  <a:moveTo>
                    <a:pt x="15" y="661"/>
                  </a:moveTo>
                  <a:lnTo>
                    <a:pt x="157" y="661"/>
                  </a:lnTo>
                  <a:lnTo>
                    <a:pt x="157" y="15"/>
                  </a:lnTo>
                  <a:lnTo>
                    <a:pt x="15" y="15"/>
                  </a:lnTo>
                  <a:lnTo>
                    <a:pt x="15" y="6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POWER_USER_ID_ICONS_Poll">
              <a:extLst>
                <a:ext uri="{FF2B5EF4-FFF2-40B4-BE49-F238E27FC236}">
                  <a16:creationId xmlns:a16="http://schemas.microsoft.com/office/drawing/2014/main" id="{F6971A17-B511-4823-8C02-C0DB3AF59759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72"/>
              <a:ext cx="65" cy="167"/>
            </a:xfrm>
            <a:custGeom>
              <a:avLst/>
              <a:gdLst>
                <a:gd name="T0" fmla="*/ 172 w 172"/>
                <a:gd name="T1" fmla="*/ 444 h 444"/>
                <a:gd name="T2" fmla="*/ 0 w 172"/>
                <a:gd name="T3" fmla="*/ 444 h 444"/>
                <a:gd name="T4" fmla="*/ 0 w 172"/>
                <a:gd name="T5" fmla="*/ 0 h 444"/>
                <a:gd name="T6" fmla="*/ 172 w 172"/>
                <a:gd name="T7" fmla="*/ 0 h 444"/>
                <a:gd name="T8" fmla="*/ 172 w 172"/>
                <a:gd name="T9" fmla="*/ 444 h 444"/>
                <a:gd name="T10" fmla="*/ 15 w 172"/>
                <a:gd name="T11" fmla="*/ 429 h 444"/>
                <a:gd name="T12" fmla="*/ 157 w 172"/>
                <a:gd name="T13" fmla="*/ 429 h 444"/>
                <a:gd name="T14" fmla="*/ 157 w 172"/>
                <a:gd name="T15" fmla="*/ 15 h 444"/>
                <a:gd name="T16" fmla="*/ 15 w 172"/>
                <a:gd name="T17" fmla="*/ 15 h 444"/>
                <a:gd name="T18" fmla="*/ 15 w 172"/>
                <a:gd name="T19" fmla="*/ 429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444">
                  <a:moveTo>
                    <a:pt x="172" y="444"/>
                  </a:moveTo>
                  <a:lnTo>
                    <a:pt x="0" y="444"/>
                  </a:lnTo>
                  <a:lnTo>
                    <a:pt x="0" y="0"/>
                  </a:lnTo>
                  <a:lnTo>
                    <a:pt x="172" y="0"/>
                  </a:lnTo>
                  <a:lnTo>
                    <a:pt x="172" y="444"/>
                  </a:lnTo>
                  <a:close/>
                  <a:moveTo>
                    <a:pt x="15" y="429"/>
                  </a:moveTo>
                  <a:lnTo>
                    <a:pt x="157" y="429"/>
                  </a:lnTo>
                  <a:lnTo>
                    <a:pt x="157" y="15"/>
                  </a:lnTo>
                  <a:lnTo>
                    <a:pt x="15" y="15"/>
                  </a:lnTo>
                  <a:lnTo>
                    <a:pt x="15" y="42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POWER_USER_ID_ICONS_Poll">
              <a:extLst>
                <a:ext uri="{FF2B5EF4-FFF2-40B4-BE49-F238E27FC236}">
                  <a16:creationId xmlns:a16="http://schemas.microsoft.com/office/drawing/2014/main" id="{8FE52628-A777-4478-927E-F84F1DCD6D9B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87" y="136"/>
              <a:ext cx="65" cy="203"/>
            </a:xfrm>
            <a:custGeom>
              <a:avLst/>
              <a:gdLst>
                <a:gd name="T0" fmla="*/ 172 w 172"/>
                <a:gd name="T1" fmla="*/ 539 h 539"/>
                <a:gd name="T2" fmla="*/ 0 w 172"/>
                <a:gd name="T3" fmla="*/ 539 h 539"/>
                <a:gd name="T4" fmla="*/ 0 w 172"/>
                <a:gd name="T5" fmla="*/ 0 h 539"/>
                <a:gd name="T6" fmla="*/ 172 w 172"/>
                <a:gd name="T7" fmla="*/ 0 h 539"/>
                <a:gd name="T8" fmla="*/ 172 w 172"/>
                <a:gd name="T9" fmla="*/ 539 h 539"/>
                <a:gd name="T10" fmla="*/ 15 w 172"/>
                <a:gd name="T11" fmla="*/ 524 h 539"/>
                <a:gd name="T12" fmla="*/ 157 w 172"/>
                <a:gd name="T13" fmla="*/ 524 h 539"/>
                <a:gd name="T14" fmla="*/ 157 w 172"/>
                <a:gd name="T15" fmla="*/ 15 h 539"/>
                <a:gd name="T16" fmla="*/ 15 w 172"/>
                <a:gd name="T17" fmla="*/ 15 h 539"/>
                <a:gd name="T18" fmla="*/ 15 w 172"/>
                <a:gd name="T19" fmla="*/ 524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539">
                  <a:moveTo>
                    <a:pt x="172" y="539"/>
                  </a:moveTo>
                  <a:lnTo>
                    <a:pt x="0" y="539"/>
                  </a:lnTo>
                  <a:lnTo>
                    <a:pt x="0" y="0"/>
                  </a:lnTo>
                  <a:lnTo>
                    <a:pt x="172" y="0"/>
                  </a:lnTo>
                  <a:lnTo>
                    <a:pt x="172" y="539"/>
                  </a:lnTo>
                  <a:close/>
                  <a:moveTo>
                    <a:pt x="15" y="524"/>
                  </a:moveTo>
                  <a:lnTo>
                    <a:pt x="157" y="524"/>
                  </a:lnTo>
                  <a:lnTo>
                    <a:pt x="157" y="15"/>
                  </a:lnTo>
                  <a:lnTo>
                    <a:pt x="15" y="15"/>
                  </a:lnTo>
                  <a:lnTo>
                    <a:pt x="15" y="5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4" name="POWER_USER_ID_ICONS_Poll">
              <a:extLst>
                <a:ext uri="{FF2B5EF4-FFF2-40B4-BE49-F238E27FC236}">
                  <a16:creationId xmlns:a16="http://schemas.microsoft.com/office/drawing/2014/main" id="{B6AEEFEA-A884-42B8-AC11-D1C0070E1A9B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29" y="384"/>
              <a:ext cx="32" cy="31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5" name="POWER_USER_ID_ICONS_Poll">
              <a:extLst>
                <a:ext uri="{FF2B5EF4-FFF2-40B4-BE49-F238E27FC236}">
                  <a16:creationId xmlns:a16="http://schemas.microsoft.com/office/drawing/2014/main" id="{C2AB423B-D592-44D9-A25C-80E5E8782E17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15" y="411"/>
              <a:ext cx="61" cy="41"/>
            </a:xfrm>
            <a:custGeom>
              <a:avLst/>
              <a:gdLst>
                <a:gd name="T0" fmla="*/ 145 w 162"/>
                <a:gd name="T1" fmla="*/ 16 h 108"/>
                <a:gd name="T2" fmla="*/ 125 w 162"/>
                <a:gd name="T3" fmla="*/ 0 h 108"/>
                <a:gd name="T4" fmla="*/ 81 w 162"/>
                <a:gd name="T5" fmla="*/ 23 h 108"/>
                <a:gd name="T6" fmla="*/ 37 w 162"/>
                <a:gd name="T7" fmla="*/ 0 h 108"/>
                <a:gd name="T8" fmla="*/ 17 w 162"/>
                <a:gd name="T9" fmla="*/ 16 h 108"/>
                <a:gd name="T10" fmla="*/ 0 w 162"/>
                <a:gd name="T11" fmla="*/ 98 h 108"/>
                <a:gd name="T12" fmla="*/ 81 w 162"/>
                <a:gd name="T13" fmla="*/ 108 h 108"/>
                <a:gd name="T14" fmla="*/ 162 w 162"/>
                <a:gd name="T15" fmla="*/ 98 h 108"/>
                <a:gd name="T16" fmla="*/ 145 w 162"/>
                <a:gd name="T17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108">
                  <a:moveTo>
                    <a:pt x="145" y="16"/>
                  </a:moveTo>
                  <a:cubicBezTo>
                    <a:pt x="141" y="9"/>
                    <a:pt x="134" y="4"/>
                    <a:pt x="125" y="0"/>
                  </a:cubicBezTo>
                  <a:cubicBezTo>
                    <a:pt x="115" y="14"/>
                    <a:pt x="99" y="23"/>
                    <a:pt x="81" y="23"/>
                  </a:cubicBezTo>
                  <a:cubicBezTo>
                    <a:pt x="63" y="23"/>
                    <a:pt x="47" y="14"/>
                    <a:pt x="37" y="0"/>
                  </a:cubicBezTo>
                  <a:cubicBezTo>
                    <a:pt x="29" y="4"/>
                    <a:pt x="21" y="9"/>
                    <a:pt x="17" y="16"/>
                  </a:cubicBezTo>
                  <a:cubicBezTo>
                    <a:pt x="3" y="38"/>
                    <a:pt x="0" y="72"/>
                    <a:pt x="0" y="98"/>
                  </a:cubicBezTo>
                  <a:cubicBezTo>
                    <a:pt x="0" y="98"/>
                    <a:pt x="36" y="108"/>
                    <a:pt x="81" y="108"/>
                  </a:cubicBezTo>
                  <a:cubicBezTo>
                    <a:pt x="127" y="108"/>
                    <a:pt x="162" y="98"/>
                    <a:pt x="162" y="98"/>
                  </a:cubicBezTo>
                  <a:cubicBezTo>
                    <a:pt x="162" y="72"/>
                    <a:pt x="159" y="38"/>
                    <a:pt x="145" y="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6" name="POWER_USER_ID_ICONS_Poll">
              <a:extLst>
                <a:ext uri="{FF2B5EF4-FFF2-40B4-BE49-F238E27FC236}">
                  <a16:creationId xmlns:a16="http://schemas.microsoft.com/office/drawing/2014/main" id="{03306BF3-EEFD-4DBC-B00D-41B6248C23D7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16" y="384"/>
              <a:ext cx="32" cy="31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7" name="POWER_USER_ID_ICONS_Poll">
              <a:extLst>
                <a:ext uri="{FF2B5EF4-FFF2-40B4-BE49-F238E27FC236}">
                  <a16:creationId xmlns:a16="http://schemas.microsoft.com/office/drawing/2014/main" id="{5BA122D5-7F31-40C5-B26B-93F72745872E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02" y="411"/>
              <a:ext cx="61" cy="41"/>
            </a:xfrm>
            <a:custGeom>
              <a:avLst/>
              <a:gdLst>
                <a:gd name="T0" fmla="*/ 145 w 162"/>
                <a:gd name="T1" fmla="*/ 16 h 108"/>
                <a:gd name="T2" fmla="*/ 125 w 162"/>
                <a:gd name="T3" fmla="*/ 0 h 108"/>
                <a:gd name="T4" fmla="*/ 81 w 162"/>
                <a:gd name="T5" fmla="*/ 23 h 108"/>
                <a:gd name="T6" fmla="*/ 37 w 162"/>
                <a:gd name="T7" fmla="*/ 0 h 108"/>
                <a:gd name="T8" fmla="*/ 17 w 162"/>
                <a:gd name="T9" fmla="*/ 16 h 108"/>
                <a:gd name="T10" fmla="*/ 0 w 162"/>
                <a:gd name="T11" fmla="*/ 98 h 108"/>
                <a:gd name="T12" fmla="*/ 81 w 162"/>
                <a:gd name="T13" fmla="*/ 108 h 108"/>
                <a:gd name="T14" fmla="*/ 162 w 162"/>
                <a:gd name="T15" fmla="*/ 98 h 108"/>
                <a:gd name="T16" fmla="*/ 145 w 162"/>
                <a:gd name="T17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108">
                  <a:moveTo>
                    <a:pt x="145" y="16"/>
                  </a:moveTo>
                  <a:cubicBezTo>
                    <a:pt x="141" y="9"/>
                    <a:pt x="133" y="4"/>
                    <a:pt x="125" y="0"/>
                  </a:cubicBezTo>
                  <a:cubicBezTo>
                    <a:pt x="115" y="14"/>
                    <a:pt x="99" y="23"/>
                    <a:pt x="81" y="23"/>
                  </a:cubicBezTo>
                  <a:cubicBezTo>
                    <a:pt x="63" y="23"/>
                    <a:pt x="47" y="14"/>
                    <a:pt x="37" y="0"/>
                  </a:cubicBezTo>
                  <a:cubicBezTo>
                    <a:pt x="28" y="4"/>
                    <a:pt x="21" y="9"/>
                    <a:pt x="17" y="16"/>
                  </a:cubicBezTo>
                  <a:cubicBezTo>
                    <a:pt x="3" y="38"/>
                    <a:pt x="0" y="72"/>
                    <a:pt x="0" y="98"/>
                  </a:cubicBezTo>
                  <a:cubicBezTo>
                    <a:pt x="0" y="98"/>
                    <a:pt x="36" y="108"/>
                    <a:pt x="81" y="108"/>
                  </a:cubicBezTo>
                  <a:cubicBezTo>
                    <a:pt x="126" y="108"/>
                    <a:pt x="162" y="98"/>
                    <a:pt x="162" y="98"/>
                  </a:cubicBezTo>
                  <a:cubicBezTo>
                    <a:pt x="162" y="72"/>
                    <a:pt x="159" y="38"/>
                    <a:pt x="145" y="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8" name="POWER_USER_ID_ICONS_Poll">
              <a:extLst>
                <a:ext uri="{FF2B5EF4-FFF2-40B4-BE49-F238E27FC236}">
                  <a16:creationId xmlns:a16="http://schemas.microsoft.com/office/drawing/2014/main" id="{FDC366EC-5CD4-4FCF-936D-D3098071DA21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304" y="384"/>
              <a:ext cx="31" cy="31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9" name="POWER_USER_ID_ICONS_Poll">
              <a:extLst>
                <a:ext uri="{FF2B5EF4-FFF2-40B4-BE49-F238E27FC236}">
                  <a16:creationId xmlns:a16="http://schemas.microsoft.com/office/drawing/2014/main" id="{2292FB0A-32C7-448D-95E8-7BC46CBA9D07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289" y="411"/>
              <a:ext cx="61" cy="41"/>
            </a:xfrm>
            <a:custGeom>
              <a:avLst/>
              <a:gdLst>
                <a:gd name="T0" fmla="*/ 145 w 162"/>
                <a:gd name="T1" fmla="*/ 16 h 108"/>
                <a:gd name="T2" fmla="*/ 125 w 162"/>
                <a:gd name="T3" fmla="*/ 0 h 108"/>
                <a:gd name="T4" fmla="*/ 81 w 162"/>
                <a:gd name="T5" fmla="*/ 23 h 108"/>
                <a:gd name="T6" fmla="*/ 37 w 162"/>
                <a:gd name="T7" fmla="*/ 0 h 108"/>
                <a:gd name="T8" fmla="*/ 17 w 162"/>
                <a:gd name="T9" fmla="*/ 16 h 108"/>
                <a:gd name="T10" fmla="*/ 0 w 162"/>
                <a:gd name="T11" fmla="*/ 98 h 108"/>
                <a:gd name="T12" fmla="*/ 81 w 162"/>
                <a:gd name="T13" fmla="*/ 108 h 108"/>
                <a:gd name="T14" fmla="*/ 162 w 162"/>
                <a:gd name="T15" fmla="*/ 98 h 108"/>
                <a:gd name="T16" fmla="*/ 145 w 162"/>
                <a:gd name="T17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108">
                  <a:moveTo>
                    <a:pt x="145" y="16"/>
                  </a:moveTo>
                  <a:cubicBezTo>
                    <a:pt x="141" y="9"/>
                    <a:pt x="133" y="4"/>
                    <a:pt x="125" y="0"/>
                  </a:cubicBezTo>
                  <a:cubicBezTo>
                    <a:pt x="115" y="14"/>
                    <a:pt x="99" y="23"/>
                    <a:pt x="81" y="23"/>
                  </a:cubicBezTo>
                  <a:cubicBezTo>
                    <a:pt x="63" y="23"/>
                    <a:pt x="46" y="14"/>
                    <a:pt x="37" y="0"/>
                  </a:cubicBezTo>
                  <a:cubicBezTo>
                    <a:pt x="28" y="4"/>
                    <a:pt x="21" y="9"/>
                    <a:pt x="17" y="16"/>
                  </a:cubicBezTo>
                  <a:cubicBezTo>
                    <a:pt x="3" y="38"/>
                    <a:pt x="0" y="72"/>
                    <a:pt x="0" y="98"/>
                  </a:cubicBezTo>
                  <a:cubicBezTo>
                    <a:pt x="0" y="98"/>
                    <a:pt x="35" y="108"/>
                    <a:pt x="81" y="108"/>
                  </a:cubicBezTo>
                  <a:cubicBezTo>
                    <a:pt x="126" y="108"/>
                    <a:pt x="162" y="98"/>
                    <a:pt x="162" y="98"/>
                  </a:cubicBezTo>
                  <a:cubicBezTo>
                    <a:pt x="162" y="72"/>
                    <a:pt x="158" y="38"/>
                    <a:pt x="145" y="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80" name="AutoShape 76">
            <a:extLst>
              <a:ext uri="{FF2B5EF4-FFF2-40B4-BE49-F238E27FC236}">
                <a16:creationId xmlns:a16="http://schemas.microsoft.com/office/drawing/2014/main" id="{49215E2A-AA49-4DDA-B8E5-5F30156B75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3729" y="184394"/>
            <a:ext cx="3389520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ô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ình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ác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n</a:t>
            </a:r>
            <a:r>
              <a:rPr kumimoji="0" lang="vi-VN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ư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ớc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956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1" grpId="0"/>
      <p:bldP spid="12" grpId="0"/>
      <p:bldP spid="54" grpId="0" animBg="1"/>
      <p:bldP spid="55" grpId="0" animBg="1"/>
      <p:bldP spid="56" grpId="0"/>
      <p:bldP spid="57" grpId="0"/>
      <p:bldP spid="58" grpId="0" animBg="1"/>
      <p:bldP spid="59" grpId="0" animBg="1"/>
      <p:bldP spid="60" grpId="0"/>
      <p:bldP spid="61" grpId="0"/>
      <p:bldP spid="62" grpId="0" animBg="1"/>
      <p:bldP spid="6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D7B824-31B3-4D2A-9E26-131B06C78BAB}"/>
              </a:ext>
            </a:extLst>
          </p:cNvPr>
          <p:cNvSpPr txBox="1">
            <a:spLocks/>
          </p:cNvSpPr>
          <p:nvPr/>
        </p:nvSpPr>
        <p:spPr>
          <a:xfrm>
            <a:off x="677334" y="1515291"/>
            <a:ext cx="8596668" cy="452607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>
              <a:buFont typeface="+mj-lt"/>
              <a:buAutoNum type="arabicPeriod"/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uần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ích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ết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ế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ập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ình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ử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hiệm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iển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ai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ảo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ì</a:t>
            </a:r>
            <a:endParaRPr lang="vi-VN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0958FAA-D446-41D7-B4EF-1391FD69F6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8259061"/>
              </p:ext>
            </p:extLst>
          </p:nvPr>
        </p:nvGraphicFramePr>
        <p:xfrm>
          <a:off x="2090253" y="2291238"/>
          <a:ext cx="8451672" cy="270691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04306">
                  <a:extLst>
                    <a:ext uri="{9D8B030D-6E8A-4147-A177-3AD203B41FA5}">
                      <a16:colId xmlns:a16="http://schemas.microsoft.com/office/drawing/2014/main" val="2308502459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367372109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050330588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4084785527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469334649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17762965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512230984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3590443234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91598975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2942812032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2480701180"/>
                    </a:ext>
                  </a:extLst>
                </a:gridCol>
                <a:gridCol w="704306">
                  <a:extLst>
                    <a:ext uri="{9D8B030D-6E8A-4147-A177-3AD203B41FA5}">
                      <a16:colId xmlns:a16="http://schemas.microsoft.com/office/drawing/2014/main" val="1738561215"/>
                    </a:ext>
                  </a:extLst>
                </a:gridCol>
              </a:tblGrid>
              <a:tr h="464847"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vi-VN" sz="2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40573681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765660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3212253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775017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782585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8754072"/>
                  </a:ext>
                </a:extLst>
              </a:tr>
              <a:tr h="373678"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vi-VN" sz="12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555694"/>
                  </a:ext>
                </a:extLst>
              </a:tr>
            </a:tbl>
          </a:graphicData>
        </a:graphic>
      </p:graphicFrame>
      <p:sp>
        <p:nvSpPr>
          <p:cNvPr id="8" name="AutoShape 76">
            <a:extLst>
              <a:ext uri="{FF2B5EF4-FFF2-40B4-BE49-F238E27FC236}">
                <a16:creationId xmlns:a16="http://schemas.microsoft.com/office/drawing/2014/main" id="{57AEF8D9-951A-4F02-A963-45D8FDCF79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854" y="648389"/>
            <a:ext cx="3352799" cy="560239"/>
          </a:xfrm>
          <a:prstGeom prst="roundRect">
            <a:avLst>
              <a:gd name="adj" fmla="val 16667"/>
            </a:avLst>
          </a:prstGeom>
          <a:solidFill>
            <a:srgbClr val="19456D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chia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ời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kern="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ian</a:t>
            </a:r>
            <a:r>
              <a:rPr lang="en-US" sz="2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0609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37435D5-A6AB-433C-B8C1-ACDA8CA4608F}"/>
              </a:ext>
            </a:extLst>
          </p:cNvPr>
          <p:cNvSpPr txBox="1"/>
          <p:nvPr/>
        </p:nvSpPr>
        <p:spPr>
          <a:xfrm>
            <a:off x="3061855" y="202113"/>
            <a:ext cx="532677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ỘI DUNG THỰC HIỆN</a:t>
            </a:r>
          </a:p>
          <a:p>
            <a:pPr algn="ctr"/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23C7921-D608-4A13-953E-EA9AA968D5CB}"/>
              </a:ext>
            </a:extLst>
          </p:cNvPr>
          <p:cNvCxnSpPr>
            <a:cxnSpLocks/>
          </p:cNvCxnSpPr>
          <p:nvPr/>
        </p:nvCxnSpPr>
        <p:spPr>
          <a:xfrm>
            <a:off x="4532243" y="648389"/>
            <a:ext cx="34455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345BC8C-6C45-41A4-91FE-94CEEDFE13CA}"/>
              </a:ext>
            </a:extLst>
          </p:cNvPr>
          <p:cNvSpPr txBox="1"/>
          <p:nvPr/>
        </p:nvSpPr>
        <p:spPr>
          <a:xfrm>
            <a:off x="859631" y="1398066"/>
            <a:ext cx="10472737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u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ậ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yê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u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â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íc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ế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ế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ệ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ống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ậ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ình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iể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ử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oà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ện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ậ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à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ả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ì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8367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4688CE7-EBEA-4EF9-B5E4-3642E7E37BBC}"/>
              </a:ext>
            </a:extLst>
          </p:cNvPr>
          <p:cNvSpPr txBox="1"/>
          <p:nvPr/>
        </p:nvSpPr>
        <p:spPr>
          <a:xfrm>
            <a:off x="3394513" y="202113"/>
            <a:ext cx="53267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KẾT QUẢ ĐẠT Đ</a:t>
            </a:r>
            <a:r>
              <a:rPr lang="vi-V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Ư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ỢC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BFBFDC8-636A-46E7-B6A4-ACBB2389BBD8}"/>
              </a:ext>
            </a:extLst>
          </p:cNvPr>
          <p:cNvCxnSpPr>
            <a:cxnSpLocks/>
          </p:cNvCxnSpPr>
          <p:nvPr/>
        </p:nvCxnSpPr>
        <p:spPr>
          <a:xfrm>
            <a:off x="4560403" y="721796"/>
            <a:ext cx="299499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72F3523-6DAD-4EC2-BC8C-2E7429C430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8064" y="994737"/>
            <a:ext cx="9579667" cy="486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2541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opwatch_POWER_USER_SEPARATOR_ICONS_clock_POWER_USER_SEPARATOR_ICONS_measure_POWER_USER_SEPARATOR_ICONS_speed_POWER_USER_SEPARATOR_ICONS_start_POWER_USER_SEPARATOR_ICONS_stop_POWER_USER_SEPARATOR_ICONS_tim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_POWER_USER_SEPARATOR_ICONS_chart_POWER_USER_SEPARATOR_ICONS_clipboard_POWER_USER_SEPARATOR_ICONS_list_POWER_USER_SEPARATOR_ICONS_vo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14[[fn=Gallery]]</Template>
  <TotalTime>719</TotalTime>
  <Words>642</Words>
  <Application>Microsoft Office PowerPoint</Application>
  <PresentationFormat>Widescreen</PresentationFormat>
  <Paragraphs>101</Paragraphs>
  <Slides>1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Gill Sans MT</vt:lpstr>
      <vt:lpstr>Times New Roman</vt:lpstr>
      <vt:lpstr>Verdana</vt:lpstr>
      <vt:lpstr>Wingdings</vt:lpstr>
      <vt:lpstr>Gallery</vt:lpstr>
      <vt:lpstr>Báo cáo đồ án công nghệ phần mề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anThang</dc:creator>
  <cp:lastModifiedBy>thanhtv</cp:lastModifiedBy>
  <cp:revision>37</cp:revision>
  <dcterms:created xsi:type="dcterms:W3CDTF">2019-05-26T02:51:25Z</dcterms:created>
  <dcterms:modified xsi:type="dcterms:W3CDTF">2019-05-27T10:35:51Z</dcterms:modified>
</cp:coreProperties>
</file>